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0.xml" ContentType="application/vnd.openxmlformats-officedocument.presentationml.slide+xml"/>
  <Override PartName="/ppt/slides/slide461.xml" ContentType="application/vnd.openxmlformats-officedocument.presentationml.slide+xml"/>
  <Override PartName="/ppt/slides/slide462.xml" ContentType="application/vnd.openxmlformats-officedocument.presentationml.slide+xml"/>
  <Override PartName="/ppt/slides/slide463.xml" ContentType="application/vnd.openxmlformats-officedocument.presentationml.slide+xml"/>
  <Override PartName="/ppt/slides/slide464.xml" ContentType="application/vnd.openxmlformats-officedocument.presentationml.slide+xml"/>
  <Override PartName="/ppt/slides/slide465.xml" ContentType="application/vnd.openxmlformats-officedocument.presentationml.slide+xml"/>
  <Override PartName="/ppt/slides/slide466.xml" ContentType="application/vnd.openxmlformats-officedocument.presentationml.slide+xml"/>
  <Override PartName="/ppt/slides/slide467.xml" ContentType="application/vnd.openxmlformats-officedocument.presentationml.slide+xml"/>
  <Override PartName="/ppt/slides/slide468.xml" ContentType="application/vnd.openxmlformats-officedocument.presentationml.slide+xml"/>
  <Override PartName="/ppt/slides/slide469.xml" ContentType="application/vnd.openxmlformats-officedocument.presentationml.slide+xml"/>
  <Override PartName="/ppt/slides/slide470.xml" ContentType="application/vnd.openxmlformats-officedocument.presentationml.slide+xml"/>
  <Override PartName="/ppt/slides/slide471.xml" ContentType="application/vnd.openxmlformats-officedocument.presentationml.slide+xml"/>
  <Override PartName="/ppt/slides/slide472.xml" ContentType="application/vnd.openxmlformats-officedocument.presentationml.slide+xml"/>
  <Override PartName="/ppt/slides/slide473.xml" ContentType="application/vnd.openxmlformats-officedocument.presentationml.slide+xml"/>
  <Override PartName="/ppt/slides/slide474.xml" ContentType="application/vnd.openxmlformats-officedocument.presentationml.slide+xml"/>
  <Override PartName="/ppt/slides/slide475.xml" ContentType="application/vnd.openxmlformats-officedocument.presentationml.slide+xml"/>
  <Override PartName="/ppt/slides/slide476.xml" ContentType="application/vnd.openxmlformats-officedocument.presentationml.slide+xml"/>
  <Override PartName="/ppt/slides/slide477.xml" ContentType="application/vnd.openxmlformats-officedocument.presentationml.slide+xml"/>
  <Override PartName="/ppt/slides/slide478.xml" ContentType="application/vnd.openxmlformats-officedocument.presentationml.slide+xml"/>
  <Override PartName="/ppt/slides/slide479.xml" ContentType="application/vnd.openxmlformats-officedocument.presentationml.slide+xml"/>
  <Override PartName="/ppt/slides/slide480.xml" ContentType="application/vnd.openxmlformats-officedocument.presentationml.slide+xml"/>
  <Override PartName="/ppt/slides/slide481.xml" ContentType="application/vnd.openxmlformats-officedocument.presentationml.slide+xml"/>
  <Override PartName="/ppt/slides/slide482.xml" ContentType="application/vnd.openxmlformats-officedocument.presentationml.slide+xml"/>
  <Override PartName="/ppt/slides/slide483.xml" ContentType="application/vnd.openxmlformats-officedocument.presentationml.slide+xml"/>
  <Override PartName="/ppt/slides/slide484.xml" ContentType="application/vnd.openxmlformats-officedocument.presentationml.slide+xml"/>
  <Override PartName="/ppt/slides/slide485.xml" ContentType="application/vnd.openxmlformats-officedocument.presentationml.slide+xml"/>
  <Override PartName="/ppt/slides/slide486.xml" ContentType="application/vnd.openxmlformats-officedocument.presentationml.slide+xml"/>
  <Override PartName="/ppt/slides/slide487.xml" ContentType="application/vnd.openxmlformats-officedocument.presentationml.slide+xml"/>
  <Override PartName="/ppt/slides/slide488.xml" ContentType="application/vnd.openxmlformats-officedocument.presentationml.slide+xml"/>
  <Override PartName="/ppt/slides/slide489.xml" ContentType="application/vnd.openxmlformats-officedocument.presentationml.slide+xml"/>
  <Override PartName="/ppt/slides/slide490.xml" ContentType="application/vnd.openxmlformats-officedocument.presentationml.slide+xml"/>
  <Override PartName="/ppt/slides/slide491.xml" ContentType="application/vnd.openxmlformats-officedocument.presentationml.slide+xml"/>
  <Override PartName="/ppt/slides/slide492.xml" ContentType="application/vnd.openxmlformats-officedocument.presentationml.slide+xml"/>
  <Override PartName="/ppt/slides/slide493.xml" ContentType="application/vnd.openxmlformats-officedocument.presentationml.slide+xml"/>
  <Override PartName="/ppt/slides/slide494.xml" ContentType="application/vnd.openxmlformats-officedocument.presentationml.slide+xml"/>
  <Override PartName="/ppt/slides/slide495.xml" ContentType="application/vnd.openxmlformats-officedocument.presentationml.slide+xml"/>
  <Override PartName="/ppt/slides/slide496.xml" ContentType="application/vnd.openxmlformats-officedocument.presentationml.slide+xml"/>
  <Override PartName="/ppt/slides/slide497.xml" ContentType="application/vnd.openxmlformats-officedocument.presentationml.slide+xml"/>
  <Override PartName="/ppt/slides/slide498.xml" ContentType="application/vnd.openxmlformats-officedocument.presentationml.slide+xml"/>
  <Override PartName="/ppt/slides/slide499.xml" ContentType="application/vnd.openxmlformats-officedocument.presentationml.slide+xml"/>
  <Override PartName="/ppt/slides/slide500.xml" ContentType="application/vnd.openxmlformats-officedocument.presentationml.slide+xml"/>
  <Override PartName="/ppt/slides/slide501.xml" ContentType="application/vnd.openxmlformats-officedocument.presentationml.slide+xml"/>
  <Override PartName="/ppt/slides/slide502.xml" ContentType="application/vnd.openxmlformats-officedocument.presentationml.slide+xml"/>
  <Override PartName="/ppt/slides/slide503.xml" ContentType="application/vnd.openxmlformats-officedocument.presentationml.slide+xml"/>
  <Override PartName="/ppt/slides/slide504.xml" ContentType="application/vnd.openxmlformats-officedocument.presentationml.slide+xml"/>
  <Override PartName="/ppt/slides/slide505.xml" ContentType="application/vnd.openxmlformats-officedocument.presentationml.slide+xml"/>
  <Override PartName="/ppt/slides/slide506.xml" ContentType="application/vnd.openxmlformats-officedocument.presentationml.slide+xml"/>
  <Override PartName="/ppt/slides/slide507.xml" ContentType="application/vnd.openxmlformats-officedocument.presentationml.slide+xml"/>
  <Override PartName="/ppt/slides/slide508.xml" ContentType="application/vnd.openxmlformats-officedocument.presentationml.slide+xml"/>
  <Override PartName="/ppt/slides/slide509.xml" ContentType="application/vnd.openxmlformats-officedocument.presentationml.slide+xml"/>
  <Override PartName="/ppt/slides/slide510.xml" ContentType="application/vnd.openxmlformats-officedocument.presentationml.slide+xml"/>
  <Override PartName="/ppt/slides/slide511.xml" ContentType="application/vnd.openxmlformats-officedocument.presentationml.slide+xml"/>
  <Override PartName="/ppt/slides/slide512.xml" ContentType="application/vnd.openxmlformats-officedocument.presentationml.slide+xml"/>
  <Override PartName="/ppt/slides/slide513.xml" ContentType="application/vnd.openxmlformats-officedocument.presentationml.slide+xml"/>
  <Override PartName="/ppt/slides/slide514.xml" ContentType="application/vnd.openxmlformats-officedocument.presentationml.slide+xml"/>
  <Override PartName="/ppt/slides/slide515.xml" ContentType="application/vnd.openxmlformats-officedocument.presentationml.slide+xml"/>
  <Override PartName="/ppt/slides/slide516.xml" ContentType="application/vnd.openxmlformats-officedocument.presentationml.slide+xml"/>
  <Override PartName="/ppt/slides/slide517.xml" ContentType="application/vnd.openxmlformats-officedocument.presentationml.slide+xml"/>
  <Override PartName="/ppt/slides/slide518.xml" ContentType="application/vnd.openxmlformats-officedocument.presentationml.slide+xml"/>
  <Override PartName="/ppt/slides/slide519.xml" ContentType="application/vnd.openxmlformats-officedocument.presentationml.slide+xml"/>
  <Override PartName="/ppt/slides/slide520.xml" ContentType="application/vnd.openxmlformats-officedocument.presentationml.slide+xml"/>
  <Override PartName="/ppt/slides/slide521.xml" ContentType="application/vnd.openxmlformats-officedocument.presentationml.slide+xml"/>
  <Override PartName="/ppt/slides/slide522.xml" ContentType="application/vnd.openxmlformats-officedocument.presentationml.slide+xml"/>
  <Override PartName="/ppt/slides/slide523.xml" ContentType="application/vnd.openxmlformats-officedocument.presentationml.slide+xml"/>
  <Override PartName="/ppt/slides/slide524.xml" ContentType="application/vnd.openxmlformats-officedocument.presentationml.slide+xml"/>
  <Override PartName="/ppt/slides/slide525.xml" ContentType="application/vnd.openxmlformats-officedocument.presentationml.slide+xml"/>
  <Override PartName="/ppt/slides/slide526.xml" ContentType="application/vnd.openxmlformats-officedocument.presentationml.slide+xml"/>
  <Override PartName="/ppt/slides/slide527.xml" ContentType="application/vnd.openxmlformats-officedocument.presentationml.slide+xml"/>
  <Override PartName="/ppt/slides/slide528.xml" ContentType="application/vnd.openxmlformats-officedocument.presentationml.slide+xml"/>
  <Override PartName="/ppt/slides/slide529.xml" ContentType="application/vnd.openxmlformats-officedocument.presentationml.slide+xml"/>
  <Override PartName="/ppt/slides/slide530.xml" ContentType="application/vnd.openxmlformats-officedocument.presentationml.slide+xml"/>
  <Override PartName="/ppt/slides/slide531.xml" ContentType="application/vnd.openxmlformats-officedocument.presentationml.slide+xml"/>
  <Override PartName="/ppt/slides/slide532.xml" ContentType="application/vnd.openxmlformats-officedocument.presentationml.slide+xml"/>
  <Override PartName="/ppt/slides/slide533.xml" ContentType="application/vnd.openxmlformats-officedocument.presentationml.slide+xml"/>
  <Override PartName="/ppt/slides/slide534.xml" ContentType="application/vnd.openxmlformats-officedocument.presentationml.slide+xml"/>
  <Override PartName="/ppt/slides/slide535.xml" ContentType="application/vnd.openxmlformats-officedocument.presentationml.slide+xml"/>
  <Override PartName="/ppt/slides/slide536.xml" ContentType="application/vnd.openxmlformats-officedocument.presentationml.slide+xml"/>
  <Override PartName="/ppt/slides/slide537.xml" ContentType="application/vnd.openxmlformats-officedocument.presentationml.slide+xml"/>
  <Override PartName="/ppt/slides/slide5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tags/tag32.xml" ContentType="application/vnd.openxmlformats-officedocument.presentationml.tags+xml"/>
  <Override PartName="/ppt/charts/chart5.xml" ContentType="application/vnd.openxmlformats-officedocument.drawingml.chart+xml"/>
  <Override PartName="/ppt/tags/tag33.xml" ContentType="application/vnd.openxmlformats-officedocument.presentationml.tags+xml"/>
  <Override PartName="/ppt/charts/chart6.xml" ContentType="application/vnd.openxmlformats-officedocument.drawingml.chart+xml"/>
  <Override PartName="/ppt/tags/tag34.xml" ContentType="application/vnd.openxmlformats-officedocument.presentationml.tags+xml"/>
  <Override PartName="/ppt/charts/chart7.xml" ContentType="application/vnd.openxmlformats-officedocument.drawingml.chart+xml"/>
  <Override PartName="/ppt/tags/tag35.xml" ContentType="application/vnd.openxmlformats-officedocument.presentationml.tags+xml"/>
  <Override PartName="/ppt/charts/chart8.xml" ContentType="application/vnd.openxmlformats-officedocument.drawingml.chart+xml"/>
  <Override PartName="/ppt/tags/tag36.xml" ContentType="application/vnd.openxmlformats-officedocument.presentationml.tags+xml"/>
  <Override PartName="/ppt/charts/chart9.xml" ContentType="application/vnd.openxmlformats-officedocument.drawingml.chart+xml"/>
  <Override PartName="/ppt/tags/tag37.xml" ContentType="application/vnd.openxmlformats-officedocument.presentationml.tags+xml"/>
  <Override PartName="/ppt/charts/chart10.xml" ContentType="application/vnd.openxmlformats-officedocument.drawingml.chart+xml"/>
  <Override PartName="/ppt/tags/tag38.xml" ContentType="application/vnd.openxmlformats-officedocument.presentationml.tags+xml"/>
  <Override PartName="/ppt/charts/chart11.xml" ContentType="application/vnd.openxmlformats-officedocument.drawingml.chart+xml"/>
  <Override PartName="/ppt/tags/tag39.xml" ContentType="application/vnd.openxmlformats-officedocument.presentationml.tags+xml"/>
  <Override PartName="/ppt/charts/chart12.xml" ContentType="application/vnd.openxmlformats-officedocument.drawingml.chart+xml"/>
  <Override PartName="/ppt/tags/tag40.xml" ContentType="application/vnd.openxmlformats-officedocument.presentationml.tags+xml"/>
  <Override PartName="/ppt/charts/chart13.xml" ContentType="application/vnd.openxmlformats-officedocument.drawingml.chart+xml"/>
  <Override PartName="/ppt/tags/tag41.xml" ContentType="application/vnd.openxmlformats-officedocument.presentationml.tags+xml"/>
  <Override PartName="/ppt/charts/chart14.xml" ContentType="application/vnd.openxmlformats-officedocument.drawingml.chart+xml"/>
  <Override PartName="/ppt/tags/tag42.xml" ContentType="application/vnd.openxmlformats-officedocument.presentationml.tags+xml"/>
  <Override PartName="/ppt/charts/chart15.xml" ContentType="application/vnd.openxmlformats-officedocument.drawingml.chart+xml"/>
  <Override PartName="/ppt/tags/tag43.xml" ContentType="application/vnd.openxmlformats-officedocument.presentationml.tags+xml"/>
  <Override PartName="/ppt/charts/chart16.xml" ContentType="application/vnd.openxmlformats-officedocument.drawingml.chart+xml"/>
  <Override PartName="/ppt/tags/tag44.xml" ContentType="application/vnd.openxmlformats-officedocument.presentationml.tags+xml"/>
  <Override PartName="/ppt/charts/chart17.xml" ContentType="application/vnd.openxmlformats-officedocument.drawingml.chart+xml"/>
  <Override PartName="/ppt/tags/tag45.xml" ContentType="application/vnd.openxmlformats-officedocument.presentationml.tags+xml"/>
  <Override PartName="/ppt/charts/chart18.xml" ContentType="application/vnd.openxmlformats-officedocument.drawingml.chart+xml"/>
  <Override PartName="/ppt/tags/tag46.xml" ContentType="application/vnd.openxmlformats-officedocument.presentationml.tags+xml"/>
  <Override PartName="/ppt/charts/chart19.xml" ContentType="application/vnd.openxmlformats-officedocument.drawingml.chart+xml"/>
  <Override PartName="/ppt/tags/tag47.xml" ContentType="application/vnd.openxmlformats-officedocument.presentationml.tags+xml"/>
  <Override PartName="/ppt/charts/chart20.xml" ContentType="application/vnd.openxmlformats-officedocument.drawingml.chart+xml"/>
  <Override PartName="/ppt/tags/tag48.xml" ContentType="application/vnd.openxmlformats-officedocument.presentationml.tags+xml"/>
  <Override PartName="/ppt/charts/chart21.xml" ContentType="application/vnd.openxmlformats-officedocument.drawingml.chart+xml"/>
  <Override PartName="/ppt/tags/tag49.xml" ContentType="application/vnd.openxmlformats-officedocument.presentationml.tags+xml"/>
  <Override PartName="/ppt/charts/chart22.xml" ContentType="application/vnd.openxmlformats-officedocument.drawingml.chart+xml"/>
  <Override PartName="/ppt/tags/tag50.xml" ContentType="application/vnd.openxmlformats-officedocument.presentationml.tags+xml"/>
  <Override PartName="/ppt/charts/chart23.xml" ContentType="application/vnd.openxmlformats-officedocument.drawingml.chart+xml"/>
  <Override PartName="/ppt/tags/tag51.xml" ContentType="application/vnd.openxmlformats-officedocument.presentationml.tags+xml"/>
  <Override PartName="/ppt/charts/chart24.xml" ContentType="application/vnd.openxmlformats-officedocument.drawingml.chart+xml"/>
  <Override PartName="/ppt/tags/tag52.xml" ContentType="application/vnd.openxmlformats-officedocument.presentationml.tags+xml"/>
  <Override PartName="/ppt/charts/chart25.xml" ContentType="application/vnd.openxmlformats-officedocument.drawingml.chart+xml"/>
  <Override PartName="/ppt/tags/tag53.xml" ContentType="application/vnd.openxmlformats-officedocument.presentationml.tags+xml"/>
  <Override PartName="/ppt/charts/chart26.xml" ContentType="application/vnd.openxmlformats-officedocument.drawingml.chart+xml"/>
  <Override PartName="/ppt/tags/tag54.xml" ContentType="application/vnd.openxmlformats-officedocument.presentationml.tags+xml"/>
  <Override PartName="/ppt/charts/chart27.xml" ContentType="application/vnd.openxmlformats-officedocument.drawingml.chart+xml"/>
  <Override PartName="/ppt/tags/tag55.xml" ContentType="application/vnd.openxmlformats-officedocument.presentationml.tags+xml"/>
  <Override PartName="/ppt/charts/chart28.xml" ContentType="application/vnd.openxmlformats-officedocument.drawingml.chart+xml"/>
  <Override PartName="/ppt/tags/tag56.xml" ContentType="application/vnd.openxmlformats-officedocument.presentationml.tags+xml"/>
  <Override PartName="/ppt/charts/chart29.xml" ContentType="application/vnd.openxmlformats-officedocument.drawingml.chart+xml"/>
  <Override PartName="/ppt/tags/tag57.xml" ContentType="application/vnd.openxmlformats-officedocument.presentationml.tags+xml"/>
  <Override PartName="/ppt/charts/chart30.xml" ContentType="application/vnd.openxmlformats-officedocument.drawingml.chart+xml"/>
  <Override PartName="/ppt/tags/tag58.xml" ContentType="application/vnd.openxmlformats-officedocument.presentationml.tags+xml"/>
  <Override PartName="/ppt/charts/chart31.xml" ContentType="application/vnd.openxmlformats-officedocument.drawingml.chart+xml"/>
  <Override PartName="/ppt/tags/tag59.xml" ContentType="application/vnd.openxmlformats-officedocument.presentationml.tags+xml"/>
  <Override PartName="/ppt/charts/chart32.xml" ContentType="application/vnd.openxmlformats-officedocument.drawingml.chart+xml"/>
  <Override PartName="/ppt/tags/tag60.xml" ContentType="application/vnd.openxmlformats-officedocument.presentationml.tags+xml"/>
  <Override PartName="/ppt/charts/chart33.xml" ContentType="application/vnd.openxmlformats-officedocument.drawingml.chart+xml"/>
  <Override PartName="/ppt/tags/tag61.xml" ContentType="application/vnd.openxmlformats-officedocument.presentationml.tags+xml"/>
  <Override PartName="/ppt/charts/chart34.xml" ContentType="application/vnd.openxmlformats-officedocument.drawingml.chart+xml"/>
  <Override PartName="/ppt/tags/tag62.xml" ContentType="application/vnd.openxmlformats-officedocument.presentationml.tags+xml"/>
  <Override PartName="/ppt/charts/chart35.xml" ContentType="application/vnd.openxmlformats-officedocument.drawingml.chart+xml"/>
  <Override PartName="/ppt/tags/tag63.xml" ContentType="application/vnd.openxmlformats-officedocument.presentationml.tags+xml"/>
  <Override PartName="/ppt/charts/chart36.xml" ContentType="application/vnd.openxmlformats-officedocument.drawingml.chart+xml"/>
  <Override PartName="/ppt/tags/tag64.xml" ContentType="application/vnd.openxmlformats-officedocument.presentationml.tags+xml"/>
  <Override PartName="/ppt/charts/chart37.xml" ContentType="application/vnd.openxmlformats-officedocument.drawingml.chart+xml"/>
  <Override PartName="/ppt/tags/tag65.xml" ContentType="application/vnd.openxmlformats-officedocument.presentationml.tags+xml"/>
  <Override PartName="/ppt/charts/chart38.xml" ContentType="application/vnd.openxmlformats-officedocument.drawingml.chart+xml"/>
  <Override PartName="/ppt/tags/tag66.xml" ContentType="application/vnd.openxmlformats-officedocument.presentationml.tags+xml"/>
  <Override PartName="/ppt/charts/chart39.xml" ContentType="application/vnd.openxmlformats-officedocument.drawingml.chart+xml"/>
  <Override PartName="/ppt/tags/tag67.xml" ContentType="application/vnd.openxmlformats-officedocument.presentationml.tags+xml"/>
  <Override PartName="/ppt/charts/chart40.xml" ContentType="application/vnd.openxmlformats-officedocument.drawingml.chart+xml"/>
  <Override PartName="/ppt/tags/tag68.xml" ContentType="application/vnd.openxmlformats-officedocument.presentationml.tags+xml"/>
  <Override PartName="/ppt/charts/chart41.xml" ContentType="application/vnd.openxmlformats-officedocument.drawingml.chart+xml"/>
  <Override PartName="/ppt/tags/tag69.xml" ContentType="application/vnd.openxmlformats-officedocument.presentationml.tags+xml"/>
  <Override PartName="/ppt/charts/chart42.xml" ContentType="application/vnd.openxmlformats-officedocument.drawingml.chart+xml"/>
  <Override PartName="/ppt/tags/tag70.xml" ContentType="application/vnd.openxmlformats-officedocument.presentationml.tags+xml"/>
  <Override PartName="/ppt/charts/chart43.xml" ContentType="application/vnd.openxmlformats-officedocument.drawingml.chart+xml"/>
  <Override PartName="/ppt/tags/tag71.xml" ContentType="application/vnd.openxmlformats-officedocument.presentationml.tags+xml"/>
  <Override PartName="/ppt/charts/chart44.xml" ContentType="application/vnd.openxmlformats-officedocument.drawingml.chart+xml"/>
  <Override PartName="/ppt/tags/tag72.xml" ContentType="application/vnd.openxmlformats-officedocument.presentationml.tags+xml"/>
  <Override PartName="/ppt/charts/chart45.xml" ContentType="application/vnd.openxmlformats-officedocument.drawingml.chart+xml"/>
  <Override PartName="/ppt/tags/tag73.xml" ContentType="application/vnd.openxmlformats-officedocument.presentationml.tags+xml"/>
  <Override PartName="/ppt/charts/chart46.xml" ContentType="application/vnd.openxmlformats-officedocument.drawingml.chart+xml"/>
  <Override PartName="/ppt/tags/tag74.xml" ContentType="application/vnd.openxmlformats-officedocument.presentationml.tags+xml"/>
  <Override PartName="/ppt/charts/chart47.xml" ContentType="application/vnd.openxmlformats-officedocument.drawingml.chart+xml"/>
  <Override PartName="/ppt/tags/tag75.xml" ContentType="application/vnd.openxmlformats-officedocument.presentationml.tags+xml"/>
  <Override PartName="/ppt/charts/chart48.xml" ContentType="application/vnd.openxmlformats-officedocument.drawingml.chart+xml"/>
  <Override PartName="/ppt/tags/tag76.xml" ContentType="application/vnd.openxmlformats-officedocument.presentationml.tags+xml"/>
  <Override PartName="/ppt/charts/chart49.xml" ContentType="application/vnd.openxmlformats-officedocument.drawingml.chart+xml"/>
  <Override PartName="/ppt/tags/tag77.xml" ContentType="application/vnd.openxmlformats-officedocument.presentationml.tags+xml"/>
  <Override PartName="/ppt/charts/chart50.xml" ContentType="application/vnd.openxmlformats-officedocument.drawingml.chart+xml"/>
  <Override PartName="/ppt/tags/tag78.xml" ContentType="application/vnd.openxmlformats-officedocument.presentationml.tags+xml"/>
  <Override PartName="/ppt/charts/chart51.xml" ContentType="application/vnd.openxmlformats-officedocument.drawingml.chart+xml"/>
  <Override PartName="/ppt/tags/tag79.xml" ContentType="application/vnd.openxmlformats-officedocument.presentationml.tags+xml"/>
  <Override PartName="/ppt/charts/chart52.xml" ContentType="application/vnd.openxmlformats-officedocument.drawingml.chart+xml"/>
  <Override PartName="/ppt/tags/tag80.xml" ContentType="application/vnd.openxmlformats-officedocument.presentationml.tags+xml"/>
  <Override PartName="/ppt/charts/chart53.xml" ContentType="application/vnd.openxmlformats-officedocument.drawingml.chart+xml"/>
  <Override PartName="/ppt/tags/tag81.xml" ContentType="application/vnd.openxmlformats-officedocument.presentationml.tags+xml"/>
  <Override PartName="/ppt/charts/chart54.xml" ContentType="application/vnd.openxmlformats-officedocument.drawingml.chart+xml"/>
  <Override PartName="/ppt/tags/tag82.xml" ContentType="application/vnd.openxmlformats-officedocument.presentationml.tags+xml"/>
  <Override PartName="/ppt/charts/chart55.xml" ContentType="application/vnd.openxmlformats-officedocument.drawingml.chart+xml"/>
  <Override PartName="/ppt/tags/tag83.xml" ContentType="application/vnd.openxmlformats-officedocument.presentationml.tags+xml"/>
  <Override PartName="/ppt/charts/chart56.xml" ContentType="application/vnd.openxmlformats-officedocument.drawingml.chart+xml"/>
  <Override PartName="/ppt/tags/tag84.xml" ContentType="application/vnd.openxmlformats-officedocument.presentationml.tags+xml"/>
  <Override PartName="/ppt/charts/chart57.xml" ContentType="application/vnd.openxmlformats-officedocument.drawingml.chart+xml"/>
  <Override PartName="/ppt/tags/tag85.xml" ContentType="application/vnd.openxmlformats-officedocument.presentationml.tags+xml"/>
  <Override PartName="/ppt/charts/chart58.xml" ContentType="application/vnd.openxmlformats-officedocument.drawingml.chart+xml"/>
  <Override PartName="/ppt/tags/tag86.xml" ContentType="application/vnd.openxmlformats-officedocument.presentationml.tags+xml"/>
  <Override PartName="/ppt/charts/chart59.xml" ContentType="application/vnd.openxmlformats-officedocument.drawingml.chart+xml"/>
  <Override PartName="/ppt/tags/tag87.xml" ContentType="application/vnd.openxmlformats-officedocument.presentationml.tags+xml"/>
  <Override PartName="/ppt/charts/chart60.xml" ContentType="application/vnd.openxmlformats-officedocument.drawingml.chart+xml"/>
  <Override PartName="/ppt/tags/tag88.xml" ContentType="application/vnd.openxmlformats-officedocument.presentationml.tags+xml"/>
  <Override PartName="/ppt/charts/chart61.xml" ContentType="application/vnd.openxmlformats-officedocument.drawingml.chart+xml"/>
  <Override PartName="/ppt/tags/tag89.xml" ContentType="application/vnd.openxmlformats-officedocument.presentationml.tags+xml"/>
  <Override PartName="/ppt/charts/chart62.xml" ContentType="application/vnd.openxmlformats-officedocument.drawingml.chart+xml"/>
  <Override PartName="/ppt/tags/tag90.xml" ContentType="application/vnd.openxmlformats-officedocument.presentationml.tags+xml"/>
  <Override PartName="/ppt/charts/chart63.xml" ContentType="application/vnd.openxmlformats-officedocument.drawingml.chart+xml"/>
  <Override PartName="/ppt/tags/tag91.xml" ContentType="application/vnd.openxmlformats-officedocument.presentationml.tags+xml"/>
  <Override PartName="/ppt/charts/chart64.xml" ContentType="application/vnd.openxmlformats-officedocument.drawingml.chart+xml"/>
  <Override PartName="/ppt/tags/tag92.xml" ContentType="application/vnd.openxmlformats-officedocument.presentationml.tags+xml"/>
  <Override PartName="/ppt/charts/chart65.xml" ContentType="application/vnd.openxmlformats-officedocument.drawingml.chart+xml"/>
  <Override PartName="/ppt/tags/tag93.xml" ContentType="application/vnd.openxmlformats-officedocument.presentationml.tags+xml"/>
  <Override PartName="/ppt/charts/chart66.xml" ContentType="application/vnd.openxmlformats-officedocument.drawingml.chart+xml"/>
  <Override PartName="/ppt/tags/tag94.xml" ContentType="application/vnd.openxmlformats-officedocument.presentationml.tags+xml"/>
  <Override PartName="/ppt/charts/chart67.xml" ContentType="application/vnd.openxmlformats-officedocument.drawingml.chart+xml"/>
  <Override PartName="/ppt/tags/tag95.xml" ContentType="application/vnd.openxmlformats-officedocument.presentationml.tags+xml"/>
  <Override PartName="/ppt/charts/chart68.xml" ContentType="application/vnd.openxmlformats-officedocument.drawingml.chart+xml"/>
  <Override PartName="/ppt/tags/tag96.xml" ContentType="application/vnd.openxmlformats-officedocument.presentationml.tags+xml"/>
  <Override PartName="/ppt/charts/chart69.xml" ContentType="application/vnd.openxmlformats-officedocument.drawingml.chart+xml"/>
  <Override PartName="/ppt/tags/tag97.xml" ContentType="application/vnd.openxmlformats-officedocument.presentationml.tags+xml"/>
  <Override PartName="/ppt/charts/chart70.xml" ContentType="application/vnd.openxmlformats-officedocument.drawingml.chart+xml"/>
  <Override PartName="/ppt/tags/tag98.xml" ContentType="application/vnd.openxmlformats-officedocument.presentationml.tags+xml"/>
  <Override PartName="/ppt/charts/chart71.xml" ContentType="application/vnd.openxmlformats-officedocument.drawingml.chart+xml"/>
  <Override PartName="/ppt/tags/tag99.xml" ContentType="application/vnd.openxmlformats-officedocument.presentationml.tags+xml"/>
  <Override PartName="/ppt/charts/chart72.xml" ContentType="application/vnd.openxmlformats-officedocument.drawingml.chart+xml"/>
  <Override PartName="/ppt/tags/tag100.xml" ContentType="application/vnd.openxmlformats-officedocument.presentationml.tags+xml"/>
  <Override PartName="/ppt/charts/chart73.xml" ContentType="application/vnd.openxmlformats-officedocument.drawingml.chart+xml"/>
  <Override PartName="/ppt/tags/tag101.xml" ContentType="application/vnd.openxmlformats-officedocument.presentationml.tags+xml"/>
  <Override PartName="/ppt/charts/chart74.xml" ContentType="application/vnd.openxmlformats-officedocument.drawingml.chart+xml"/>
  <Override PartName="/ppt/tags/tag102.xml" ContentType="application/vnd.openxmlformats-officedocument.presentationml.tags+xml"/>
  <Override PartName="/ppt/charts/chart75.xml" ContentType="application/vnd.openxmlformats-officedocument.drawingml.chart+xml"/>
  <Override PartName="/ppt/tags/tag103.xml" ContentType="application/vnd.openxmlformats-officedocument.presentationml.tags+xml"/>
  <Override PartName="/ppt/charts/chart76.xml" ContentType="application/vnd.openxmlformats-officedocument.drawingml.chart+xml"/>
  <Override PartName="/ppt/tags/tag104.xml" ContentType="application/vnd.openxmlformats-officedocument.presentationml.tags+xml"/>
  <Override PartName="/ppt/charts/chart77.xml" ContentType="application/vnd.openxmlformats-officedocument.drawingml.chart+xml"/>
  <Override PartName="/ppt/tags/tag105.xml" ContentType="application/vnd.openxmlformats-officedocument.presentationml.tags+xml"/>
  <Override PartName="/ppt/charts/chart78.xml" ContentType="application/vnd.openxmlformats-officedocument.drawingml.chart+xml"/>
  <Override PartName="/ppt/tags/tag106.xml" ContentType="application/vnd.openxmlformats-officedocument.presentationml.tags+xml"/>
  <Override PartName="/ppt/charts/chart79.xml" ContentType="application/vnd.openxmlformats-officedocument.drawingml.chart+xml"/>
  <Override PartName="/ppt/tags/tag107.xml" ContentType="application/vnd.openxmlformats-officedocument.presentationml.tags+xml"/>
  <Override PartName="/ppt/charts/chart80.xml" ContentType="application/vnd.openxmlformats-officedocument.drawingml.chart+xml"/>
  <Override PartName="/ppt/tags/tag108.xml" ContentType="application/vnd.openxmlformats-officedocument.presentationml.tags+xml"/>
  <Override PartName="/ppt/charts/chart81.xml" ContentType="application/vnd.openxmlformats-officedocument.drawingml.chart+xml"/>
  <Override PartName="/ppt/tags/tag109.xml" ContentType="application/vnd.openxmlformats-officedocument.presentationml.tags+xml"/>
  <Override PartName="/ppt/charts/chart82.xml" ContentType="application/vnd.openxmlformats-officedocument.drawingml.chart+xml"/>
  <Override PartName="/ppt/tags/tag110.xml" ContentType="application/vnd.openxmlformats-officedocument.presentationml.tags+xml"/>
  <Override PartName="/ppt/charts/chart83.xml" ContentType="application/vnd.openxmlformats-officedocument.drawingml.chart+xml"/>
  <Override PartName="/ppt/tags/tag111.xml" ContentType="application/vnd.openxmlformats-officedocument.presentationml.tags+xml"/>
  <Override PartName="/ppt/charts/chart84.xml" ContentType="application/vnd.openxmlformats-officedocument.drawingml.chart+xml"/>
  <Override PartName="/ppt/tags/tag112.xml" ContentType="application/vnd.openxmlformats-officedocument.presentationml.tags+xml"/>
  <Override PartName="/ppt/charts/chart85.xml" ContentType="application/vnd.openxmlformats-officedocument.drawingml.chart+xml"/>
  <Override PartName="/ppt/tags/tag113.xml" ContentType="application/vnd.openxmlformats-officedocument.presentationml.tags+xml"/>
  <Override PartName="/ppt/charts/chart86.xml" ContentType="application/vnd.openxmlformats-officedocument.drawingml.chart+xml"/>
  <Override PartName="/ppt/tags/tag114.xml" ContentType="application/vnd.openxmlformats-officedocument.presentationml.tags+xml"/>
  <Override PartName="/ppt/charts/chart87.xml" ContentType="application/vnd.openxmlformats-officedocument.drawingml.chart+xml"/>
  <Override PartName="/ppt/tags/tag115.xml" ContentType="application/vnd.openxmlformats-officedocument.presentationml.tags+xml"/>
  <Override PartName="/ppt/charts/chart88.xml" ContentType="application/vnd.openxmlformats-officedocument.drawingml.chart+xml"/>
  <Override PartName="/ppt/tags/tag116.xml" ContentType="application/vnd.openxmlformats-officedocument.presentationml.tags+xml"/>
  <Override PartName="/ppt/charts/chart89.xml" ContentType="application/vnd.openxmlformats-officedocument.drawingml.chart+xml"/>
  <Override PartName="/ppt/tags/tag117.xml" ContentType="application/vnd.openxmlformats-officedocument.presentationml.tags+xml"/>
  <Override PartName="/ppt/charts/chart90.xml" ContentType="application/vnd.openxmlformats-officedocument.drawingml.chart+xml"/>
  <Override PartName="/ppt/tags/tag118.xml" ContentType="application/vnd.openxmlformats-officedocument.presentationml.tags+xml"/>
  <Override PartName="/ppt/charts/chart91.xml" ContentType="application/vnd.openxmlformats-officedocument.drawingml.chart+xml"/>
  <Override PartName="/ppt/tags/tag119.xml" ContentType="application/vnd.openxmlformats-officedocument.presentationml.tags+xml"/>
  <Override PartName="/ppt/charts/chart92.xml" ContentType="application/vnd.openxmlformats-officedocument.drawingml.chart+xml"/>
  <Override PartName="/ppt/tags/tag120.xml" ContentType="application/vnd.openxmlformats-officedocument.presentationml.tags+xml"/>
  <Override PartName="/ppt/charts/chart93.xml" ContentType="application/vnd.openxmlformats-officedocument.drawingml.chart+xml"/>
  <Override PartName="/ppt/tags/tag121.xml" ContentType="application/vnd.openxmlformats-officedocument.presentationml.tags+xml"/>
  <Override PartName="/ppt/charts/chart94.xml" ContentType="application/vnd.openxmlformats-officedocument.drawingml.chart+xml"/>
  <Override PartName="/ppt/tags/tag122.xml" ContentType="application/vnd.openxmlformats-officedocument.presentationml.tags+xml"/>
  <Override PartName="/ppt/charts/chart95.xml" ContentType="application/vnd.openxmlformats-officedocument.drawingml.chart+xml"/>
  <Override PartName="/ppt/tags/tag123.xml" ContentType="application/vnd.openxmlformats-officedocument.presentationml.tags+xml"/>
  <Override PartName="/ppt/charts/chart96.xml" ContentType="application/vnd.openxmlformats-officedocument.drawingml.chart+xml"/>
  <Override PartName="/ppt/tags/tag124.xml" ContentType="application/vnd.openxmlformats-officedocument.presentationml.tags+xml"/>
  <Override PartName="/ppt/charts/chart97.xml" ContentType="application/vnd.openxmlformats-officedocument.drawingml.chart+xml"/>
  <Override PartName="/ppt/tags/tag125.xml" ContentType="application/vnd.openxmlformats-officedocument.presentationml.tags+xml"/>
  <Override PartName="/ppt/charts/chart98.xml" ContentType="application/vnd.openxmlformats-officedocument.drawingml.chart+xml"/>
  <Override PartName="/ppt/tags/tag126.xml" ContentType="application/vnd.openxmlformats-officedocument.presentationml.tags+xml"/>
  <Override PartName="/ppt/charts/chart99.xml" ContentType="application/vnd.openxmlformats-officedocument.drawingml.chart+xml"/>
  <Override PartName="/ppt/tags/tag127.xml" ContentType="application/vnd.openxmlformats-officedocument.presentationml.tags+xml"/>
  <Override PartName="/ppt/charts/chart100.xml" ContentType="application/vnd.openxmlformats-officedocument.drawingml.chart+xml"/>
  <Override PartName="/ppt/tags/tag128.xml" ContentType="application/vnd.openxmlformats-officedocument.presentationml.tags+xml"/>
  <Override PartName="/ppt/charts/chart101.xml" ContentType="application/vnd.openxmlformats-officedocument.drawingml.chart+xml"/>
  <Override PartName="/ppt/tags/tag129.xml" ContentType="application/vnd.openxmlformats-officedocument.presentationml.tags+xml"/>
  <Override PartName="/ppt/charts/chart102.xml" ContentType="application/vnd.openxmlformats-officedocument.drawingml.chart+xml"/>
  <Override PartName="/ppt/tags/tag130.xml" ContentType="application/vnd.openxmlformats-officedocument.presentationml.tags+xml"/>
  <Override PartName="/ppt/charts/chart103.xml" ContentType="application/vnd.openxmlformats-officedocument.drawingml.chart+xml"/>
  <Override PartName="/ppt/tags/tag131.xml" ContentType="application/vnd.openxmlformats-officedocument.presentationml.tags+xml"/>
  <Override PartName="/ppt/charts/chart104.xml" ContentType="application/vnd.openxmlformats-officedocument.drawingml.chart+xml"/>
  <Override PartName="/ppt/tags/tag132.xml" ContentType="application/vnd.openxmlformats-officedocument.presentationml.tags+xml"/>
  <Override PartName="/ppt/charts/chart105.xml" ContentType="application/vnd.openxmlformats-officedocument.drawingml.chart+xml"/>
  <Override PartName="/ppt/tags/tag133.xml" ContentType="application/vnd.openxmlformats-officedocument.presentationml.tags+xml"/>
  <Override PartName="/ppt/charts/chart106.xml" ContentType="application/vnd.openxmlformats-officedocument.drawingml.chart+xml"/>
  <Override PartName="/ppt/tags/tag134.xml" ContentType="application/vnd.openxmlformats-officedocument.presentationml.tags+xml"/>
  <Override PartName="/ppt/charts/chart107.xml" ContentType="application/vnd.openxmlformats-officedocument.drawingml.chart+xml"/>
  <Override PartName="/ppt/tags/tag135.xml" ContentType="application/vnd.openxmlformats-officedocument.presentationml.tags+xml"/>
  <Override PartName="/ppt/charts/chart108.xml" ContentType="application/vnd.openxmlformats-officedocument.drawingml.chart+xml"/>
  <Override PartName="/ppt/tags/tag136.xml" ContentType="application/vnd.openxmlformats-officedocument.presentationml.tags+xml"/>
  <Override PartName="/ppt/charts/chart109.xml" ContentType="application/vnd.openxmlformats-officedocument.drawingml.chart+xml"/>
  <Override PartName="/ppt/tags/tag137.xml" ContentType="application/vnd.openxmlformats-officedocument.presentationml.tags+xml"/>
  <Override PartName="/ppt/charts/chart110.xml" ContentType="application/vnd.openxmlformats-officedocument.drawingml.chart+xml"/>
  <Override PartName="/ppt/tags/tag138.xml" ContentType="application/vnd.openxmlformats-officedocument.presentationml.tags+xml"/>
  <Override PartName="/ppt/charts/chart111.xml" ContentType="application/vnd.openxmlformats-officedocument.drawingml.chart+xml"/>
  <Override PartName="/ppt/tags/tag139.xml" ContentType="application/vnd.openxmlformats-officedocument.presentationml.tags+xml"/>
  <Override PartName="/ppt/charts/chart112.xml" ContentType="application/vnd.openxmlformats-officedocument.drawingml.chart+xml"/>
  <Override PartName="/ppt/tags/tag140.xml" ContentType="application/vnd.openxmlformats-officedocument.presentationml.tags+xml"/>
  <Override PartName="/ppt/charts/chart113.xml" ContentType="application/vnd.openxmlformats-officedocument.drawingml.chart+xml"/>
  <Override PartName="/ppt/tags/tag141.xml" ContentType="application/vnd.openxmlformats-officedocument.presentationml.tags+xml"/>
  <Override PartName="/ppt/charts/chart114.xml" ContentType="application/vnd.openxmlformats-officedocument.drawingml.chart+xml"/>
  <Override PartName="/ppt/tags/tag142.xml" ContentType="application/vnd.openxmlformats-officedocument.presentationml.tags+xml"/>
  <Override PartName="/ppt/charts/chart115.xml" ContentType="application/vnd.openxmlformats-officedocument.drawingml.chart+xml"/>
  <Override PartName="/ppt/tags/tag143.xml" ContentType="application/vnd.openxmlformats-officedocument.presentationml.tags+xml"/>
  <Override PartName="/ppt/charts/chart116.xml" ContentType="application/vnd.openxmlformats-officedocument.drawingml.chart+xml"/>
  <Override PartName="/ppt/tags/tag144.xml" ContentType="application/vnd.openxmlformats-officedocument.presentationml.tags+xml"/>
  <Override PartName="/ppt/charts/chart117.xml" ContentType="application/vnd.openxmlformats-officedocument.drawingml.chart+xml"/>
  <Override PartName="/ppt/tags/tag145.xml" ContentType="application/vnd.openxmlformats-officedocument.presentationml.tags+xml"/>
  <Override PartName="/ppt/charts/chart118.xml" ContentType="application/vnd.openxmlformats-officedocument.drawingml.chart+xml"/>
  <Override PartName="/ppt/tags/tag146.xml" ContentType="application/vnd.openxmlformats-officedocument.presentationml.tags+xml"/>
  <Override PartName="/ppt/charts/chart119.xml" ContentType="application/vnd.openxmlformats-officedocument.drawingml.chart+xml"/>
  <Override PartName="/ppt/tags/tag147.xml" ContentType="application/vnd.openxmlformats-officedocument.presentationml.tags+xml"/>
  <Override PartName="/ppt/charts/chart120.xml" ContentType="application/vnd.openxmlformats-officedocument.drawingml.chart+xml"/>
  <Override PartName="/ppt/tags/tag148.xml" ContentType="application/vnd.openxmlformats-officedocument.presentationml.tags+xml"/>
  <Override PartName="/ppt/charts/chart121.xml" ContentType="application/vnd.openxmlformats-officedocument.drawingml.chart+xml"/>
  <Override PartName="/ppt/tags/tag149.xml" ContentType="application/vnd.openxmlformats-officedocument.presentationml.tags+xml"/>
  <Override PartName="/ppt/charts/chart122.xml" ContentType="application/vnd.openxmlformats-officedocument.drawingml.chart+xml"/>
  <Override PartName="/ppt/tags/tag150.xml" ContentType="application/vnd.openxmlformats-officedocument.presentationml.tags+xml"/>
  <Override PartName="/ppt/charts/chart123.xml" ContentType="application/vnd.openxmlformats-officedocument.drawingml.chart+xml"/>
  <Override PartName="/ppt/tags/tag151.xml" ContentType="application/vnd.openxmlformats-officedocument.presentationml.tags+xml"/>
  <Override PartName="/ppt/charts/chart124.xml" ContentType="application/vnd.openxmlformats-officedocument.drawingml.chart+xml"/>
  <Override PartName="/ppt/tags/tag152.xml" ContentType="application/vnd.openxmlformats-officedocument.presentationml.tags+xml"/>
  <Override PartName="/ppt/charts/chart125.xml" ContentType="application/vnd.openxmlformats-officedocument.drawingml.chart+xml"/>
  <Override PartName="/ppt/tags/tag153.xml" ContentType="application/vnd.openxmlformats-officedocument.presentationml.tags+xml"/>
  <Override PartName="/ppt/charts/chart126.xml" ContentType="application/vnd.openxmlformats-officedocument.drawingml.chart+xml"/>
  <Override PartName="/ppt/tags/tag154.xml" ContentType="application/vnd.openxmlformats-officedocument.presentationml.tags+xml"/>
  <Override PartName="/ppt/charts/chart127.xml" ContentType="application/vnd.openxmlformats-officedocument.drawingml.chart+xml"/>
  <Override PartName="/ppt/tags/tag155.xml" ContentType="application/vnd.openxmlformats-officedocument.presentationml.tags+xml"/>
  <Override PartName="/ppt/charts/chart128.xml" ContentType="application/vnd.openxmlformats-officedocument.drawingml.chart+xml"/>
  <Override PartName="/ppt/tags/tag156.xml" ContentType="application/vnd.openxmlformats-officedocument.presentationml.tags+xml"/>
  <Override PartName="/ppt/charts/chart129.xml" ContentType="application/vnd.openxmlformats-officedocument.drawingml.chart+xml"/>
  <Override PartName="/ppt/tags/tag157.xml" ContentType="application/vnd.openxmlformats-officedocument.presentationml.tags+xml"/>
  <Override PartName="/ppt/charts/chart130.xml" ContentType="application/vnd.openxmlformats-officedocument.drawingml.chart+xml"/>
  <Override PartName="/ppt/tags/tag158.xml" ContentType="application/vnd.openxmlformats-officedocument.presentationml.tags+xml"/>
  <Override PartName="/ppt/charts/chart131.xml" ContentType="application/vnd.openxmlformats-officedocument.drawingml.chart+xml"/>
  <Override PartName="/ppt/tags/tag159.xml" ContentType="application/vnd.openxmlformats-officedocument.presentationml.tags+xml"/>
  <Override PartName="/ppt/charts/chart132.xml" ContentType="application/vnd.openxmlformats-officedocument.drawingml.chart+xml"/>
  <Override PartName="/ppt/tags/tag160.xml" ContentType="application/vnd.openxmlformats-officedocument.presentationml.tags+xml"/>
  <Override PartName="/ppt/charts/chart133.xml" ContentType="application/vnd.openxmlformats-officedocument.drawingml.chart+xml"/>
  <Override PartName="/ppt/tags/tag161.xml" ContentType="application/vnd.openxmlformats-officedocument.presentationml.tags+xml"/>
  <Override PartName="/ppt/charts/chart134.xml" ContentType="application/vnd.openxmlformats-officedocument.drawingml.chart+xml"/>
  <Override PartName="/ppt/tags/tag162.xml" ContentType="application/vnd.openxmlformats-officedocument.presentationml.tags+xml"/>
  <Override PartName="/ppt/charts/chart135.xml" ContentType="application/vnd.openxmlformats-officedocument.drawingml.chart+xml"/>
  <Override PartName="/ppt/tags/tag163.xml" ContentType="application/vnd.openxmlformats-officedocument.presentationml.tags+xml"/>
  <Override PartName="/ppt/charts/chart136.xml" ContentType="application/vnd.openxmlformats-officedocument.drawingml.chart+xml"/>
  <Override PartName="/ppt/tags/tag164.xml" ContentType="application/vnd.openxmlformats-officedocument.presentationml.tags+xml"/>
  <Override PartName="/ppt/charts/chart137.xml" ContentType="application/vnd.openxmlformats-officedocument.drawingml.chart+xml"/>
  <Override PartName="/ppt/tags/tag165.xml" ContentType="application/vnd.openxmlformats-officedocument.presentationml.tags+xml"/>
  <Override PartName="/ppt/charts/chart138.xml" ContentType="application/vnd.openxmlformats-officedocument.drawingml.chart+xml"/>
  <Override PartName="/ppt/tags/tag166.xml" ContentType="application/vnd.openxmlformats-officedocument.presentationml.tags+xml"/>
  <Override PartName="/ppt/charts/chart139.xml" ContentType="application/vnd.openxmlformats-officedocument.drawingml.chart+xml"/>
  <Override PartName="/ppt/tags/tag167.xml" ContentType="application/vnd.openxmlformats-officedocument.presentationml.tags+xml"/>
  <Override PartName="/ppt/charts/chart140.xml" ContentType="application/vnd.openxmlformats-officedocument.drawingml.chart+xml"/>
  <Override PartName="/ppt/tags/tag168.xml" ContentType="application/vnd.openxmlformats-officedocument.presentationml.tags+xml"/>
  <Override PartName="/ppt/charts/chart141.xml" ContentType="application/vnd.openxmlformats-officedocument.drawingml.chart+xml"/>
  <Override PartName="/ppt/tags/tag169.xml" ContentType="application/vnd.openxmlformats-officedocument.presentationml.tags+xml"/>
  <Override PartName="/ppt/charts/chart142.xml" ContentType="application/vnd.openxmlformats-officedocument.drawingml.chart+xml"/>
  <Override PartName="/ppt/tags/tag170.xml" ContentType="application/vnd.openxmlformats-officedocument.presentationml.tags+xml"/>
  <Override PartName="/ppt/charts/chart143.xml" ContentType="application/vnd.openxmlformats-officedocument.drawingml.chart+xml"/>
  <Override PartName="/ppt/tags/tag171.xml" ContentType="application/vnd.openxmlformats-officedocument.presentationml.tags+xml"/>
  <Override PartName="/ppt/charts/chart144.xml" ContentType="application/vnd.openxmlformats-officedocument.drawingml.chart+xml"/>
  <Override PartName="/ppt/tags/tag172.xml" ContentType="application/vnd.openxmlformats-officedocument.presentationml.tags+xml"/>
  <Override PartName="/ppt/charts/chart145.xml" ContentType="application/vnd.openxmlformats-officedocument.drawingml.chart+xml"/>
  <Override PartName="/ppt/tags/tag173.xml" ContentType="application/vnd.openxmlformats-officedocument.presentationml.tags+xml"/>
  <Override PartName="/ppt/charts/chart146.xml" ContentType="application/vnd.openxmlformats-officedocument.drawingml.chart+xml"/>
  <Override PartName="/ppt/tags/tag174.xml" ContentType="application/vnd.openxmlformats-officedocument.presentationml.tags+xml"/>
  <Override PartName="/ppt/charts/chart147.xml" ContentType="application/vnd.openxmlformats-officedocument.drawingml.chart+xml"/>
  <Override PartName="/ppt/tags/tag175.xml" ContentType="application/vnd.openxmlformats-officedocument.presentationml.tags+xml"/>
  <Override PartName="/ppt/charts/chart148.xml" ContentType="application/vnd.openxmlformats-officedocument.drawingml.chart+xml"/>
  <Override PartName="/ppt/tags/tag176.xml" ContentType="application/vnd.openxmlformats-officedocument.presentationml.tags+xml"/>
  <Override PartName="/ppt/charts/chart149.xml" ContentType="application/vnd.openxmlformats-officedocument.drawingml.chart+xml"/>
  <Override PartName="/ppt/tags/tag177.xml" ContentType="application/vnd.openxmlformats-officedocument.presentationml.tags+xml"/>
  <Override PartName="/ppt/charts/chart150.xml" ContentType="application/vnd.openxmlformats-officedocument.drawingml.chart+xml"/>
  <Override PartName="/ppt/tags/tag178.xml" ContentType="application/vnd.openxmlformats-officedocument.presentationml.tags+xml"/>
  <Override PartName="/ppt/charts/chart151.xml" ContentType="application/vnd.openxmlformats-officedocument.drawingml.chart+xml"/>
  <Override PartName="/ppt/tags/tag179.xml" ContentType="application/vnd.openxmlformats-officedocument.presentationml.tags+xml"/>
  <Override PartName="/ppt/charts/chart152.xml" ContentType="application/vnd.openxmlformats-officedocument.drawingml.chart+xml"/>
  <Override PartName="/ppt/tags/tag180.xml" ContentType="application/vnd.openxmlformats-officedocument.presentationml.tags+xml"/>
  <Override PartName="/ppt/charts/chart153.xml" ContentType="application/vnd.openxmlformats-officedocument.drawingml.chart+xml"/>
  <Override PartName="/ppt/tags/tag181.xml" ContentType="application/vnd.openxmlformats-officedocument.presentationml.tags+xml"/>
  <Override PartName="/ppt/charts/chart154.xml" ContentType="application/vnd.openxmlformats-officedocument.drawingml.chart+xml"/>
  <Override PartName="/ppt/tags/tag182.xml" ContentType="application/vnd.openxmlformats-officedocument.presentationml.tags+xml"/>
  <Override PartName="/ppt/charts/chart155.xml" ContentType="application/vnd.openxmlformats-officedocument.drawingml.chart+xml"/>
  <Override PartName="/ppt/tags/tag183.xml" ContentType="application/vnd.openxmlformats-officedocument.presentationml.tags+xml"/>
  <Override PartName="/ppt/charts/chart156.xml" ContentType="application/vnd.openxmlformats-officedocument.drawingml.chart+xml"/>
  <Override PartName="/ppt/tags/tag184.xml" ContentType="application/vnd.openxmlformats-officedocument.presentationml.tags+xml"/>
  <Override PartName="/ppt/charts/chart157.xml" ContentType="application/vnd.openxmlformats-officedocument.drawingml.chart+xml"/>
  <Override PartName="/ppt/tags/tag185.xml" ContentType="application/vnd.openxmlformats-officedocument.presentationml.tags+xml"/>
  <Override PartName="/ppt/charts/chart158.xml" ContentType="application/vnd.openxmlformats-officedocument.drawingml.chart+xml"/>
  <Override PartName="/ppt/tags/tag186.xml" ContentType="application/vnd.openxmlformats-officedocument.presentationml.tags+xml"/>
  <Override PartName="/ppt/charts/chart159.xml" ContentType="application/vnd.openxmlformats-officedocument.drawingml.chart+xml"/>
  <Override PartName="/ppt/tags/tag187.xml" ContentType="application/vnd.openxmlformats-officedocument.presentationml.tags+xml"/>
  <Override PartName="/ppt/charts/chart160.xml" ContentType="application/vnd.openxmlformats-officedocument.drawingml.chart+xml"/>
  <Override PartName="/ppt/tags/tag188.xml" ContentType="application/vnd.openxmlformats-officedocument.presentationml.tags+xml"/>
  <Override PartName="/ppt/charts/chart161.xml" ContentType="application/vnd.openxmlformats-officedocument.drawingml.chart+xml"/>
  <Override PartName="/ppt/tags/tag189.xml" ContentType="application/vnd.openxmlformats-officedocument.presentationml.tags+xml"/>
  <Override PartName="/ppt/charts/chart162.xml" ContentType="application/vnd.openxmlformats-officedocument.drawingml.chart+xml"/>
  <Override PartName="/ppt/tags/tag190.xml" ContentType="application/vnd.openxmlformats-officedocument.presentationml.tags+xml"/>
  <Override PartName="/ppt/charts/chart163.xml" ContentType="application/vnd.openxmlformats-officedocument.drawingml.chart+xml"/>
  <Override PartName="/ppt/tags/tag191.xml" ContentType="application/vnd.openxmlformats-officedocument.presentationml.tags+xml"/>
  <Override PartName="/ppt/charts/chart164.xml" ContentType="application/vnd.openxmlformats-officedocument.drawingml.chart+xml"/>
  <Override PartName="/ppt/tags/tag192.xml" ContentType="application/vnd.openxmlformats-officedocument.presentationml.tags+xml"/>
  <Override PartName="/ppt/charts/chart165.xml" ContentType="application/vnd.openxmlformats-officedocument.drawingml.chart+xml"/>
  <Override PartName="/ppt/tags/tag193.xml" ContentType="application/vnd.openxmlformats-officedocument.presentationml.tags+xml"/>
  <Override PartName="/ppt/charts/chart166.xml" ContentType="application/vnd.openxmlformats-officedocument.drawingml.chart+xml"/>
  <Override PartName="/ppt/tags/tag194.xml" ContentType="application/vnd.openxmlformats-officedocument.presentationml.tags+xml"/>
  <Override PartName="/ppt/charts/chart167.xml" ContentType="application/vnd.openxmlformats-officedocument.drawingml.chart+xml"/>
  <Override PartName="/ppt/tags/tag195.xml" ContentType="application/vnd.openxmlformats-officedocument.presentationml.tags+xml"/>
  <Override PartName="/ppt/charts/chart168.xml" ContentType="application/vnd.openxmlformats-officedocument.drawingml.chart+xml"/>
  <Override PartName="/ppt/tags/tag196.xml" ContentType="application/vnd.openxmlformats-officedocument.presentationml.tags+xml"/>
  <Override PartName="/ppt/charts/chart169.xml" ContentType="application/vnd.openxmlformats-officedocument.drawingml.chart+xml"/>
  <Override PartName="/ppt/tags/tag197.xml" ContentType="application/vnd.openxmlformats-officedocument.presentationml.tags+xml"/>
  <Override PartName="/ppt/charts/chart170.xml" ContentType="application/vnd.openxmlformats-officedocument.drawingml.chart+xml"/>
  <Override PartName="/ppt/tags/tag198.xml" ContentType="application/vnd.openxmlformats-officedocument.presentationml.tags+xml"/>
  <Override PartName="/ppt/charts/chart171.xml" ContentType="application/vnd.openxmlformats-officedocument.drawingml.chart+xml"/>
  <Override PartName="/ppt/tags/tag199.xml" ContentType="application/vnd.openxmlformats-officedocument.presentationml.tags+xml"/>
  <Override PartName="/ppt/charts/chart172.xml" ContentType="application/vnd.openxmlformats-officedocument.drawingml.chart+xml"/>
  <Override PartName="/ppt/tags/tag200.xml" ContentType="application/vnd.openxmlformats-officedocument.presentationml.tags+xml"/>
  <Override PartName="/ppt/charts/chart173.xml" ContentType="application/vnd.openxmlformats-officedocument.drawingml.chart+xml"/>
  <Override PartName="/ppt/tags/tag201.xml" ContentType="application/vnd.openxmlformats-officedocument.presentationml.tags+xml"/>
  <Override PartName="/ppt/charts/chart174.xml" ContentType="application/vnd.openxmlformats-officedocument.drawingml.chart+xml"/>
  <Override PartName="/ppt/tags/tag202.xml" ContentType="application/vnd.openxmlformats-officedocument.presentationml.tags+xml"/>
  <Override PartName="/ppt/charts/chart175.xml" ContentType="application/vnd.openxmlformats-officedocument.drawingml.chart+xml"/>
  <Override PartName="/ppt/tags/tag203.xml" ContentType="application/vnd.openxmlformats-officedocument.presentationml.tags+xml"/>
  <Override PartName="/ppt/charts/chart176.xml" ContentType="application/vnd.openxmlformats-officedocument.drawingml.chart+xml"/>
  <Override PartName="/ppt/tags/tag204.xml" ContentType="application/vnd.openxmlformats-officedocument.presentationml.tags+xml"/>
  <Override PartName="/ppt/charts/chart177.xml" ContentType="application/vnd.openxmlformats-officedocument.drawingml.chart+xml"/>
  <Override PartName="/ppt/tags/tag205.xml" ContentType="application/vnd.openxmlformats-officedocument.presentationml.tags+xml"/>
  <Override PartName="/ppt/charts/chart178.xml" ContentType="application/vnd.openxmlformats-officedocument.drawingml.chart+xml"/>
  <Override PartName="/ppt/tags/tag206.xml" ContentType="application/vnd.openxmlformats-officedocument.presentationml.tags+xml"/>
  <Override PartName="/ppt/charts/chart179.xml" ContentType="application/vnd.openxmlformats-officedocument.drawingml.chart+xml"/>
  <Override PartName="/ppt/tags/tag207.xml" ContentType="application/vnd.openxmlformats-officedocument.presentationml.tags+xml"/>
  <Override PartName="/ppt/charts/chart180.xml" ContentType="application/vnd.openxmlformats-officedocument.drawingml.chart+xml"/>
  <Override PartName="/ppt/tags/tag208.xml" ContentType="application/vnd.openxmlformats-officedocument.presentationml.tags+xml"/>
  <Override PartName="/ppt/charts/chart181.xml" ContentType="application/vnd.openxmlformats-officedocument.drawingml.chart+xml"/>
  <Override PartName="/ppt/tags/tag209.xml" ContentType="application/vnd.openxmlformats-officedocument.presentationml.tags+xml"/>
  <Override PartName="/ppt/charts/chart182.xml" ContentType="application/vnd.openxmlformats-officedocument.drawingml.chart+xml"/>
  <Override PartName="/ppt/tags/tag210.xml" ContentType="application/vnd.openxmlformats-officedocument.presentationml.tags+xml"/>
  <Override PartName="/ppt/charts/chart183.xml" ContentType="application/vnd.openxmlformats-officedocument.drawingml.chart+xml"/>
  <Override PartName="/ppt/tags/tag211.xml" ContentType="application/vnd.openxmlformats-officedocument.presentationml.tags+xml"/>
  <Override PartName="/ppt/charts/chart184.xml" ContentType="application/vnd.openxmlformats-officedocument.drawingml.chart+xml"/>
  <Override PartName="/ppt/tags/tag212.xml" ContentType="application/vnd.openxmlformats-officedocument.presentationml.tags+xml"/>
  <Override PartName="/ppt/charts/chart185.xml" ContentType="application/vnd.openxmlformats-officedocument.drawingml.chart+xml"/>
  <Override PartName="/ppt/tags/tag213.xml" ContentType="application/vnd.openxmlformats-officedocument.presentationml.tags+xml"/>
  <Override PartName="/ppt/charts/chart186.xml" ContentType="application/vnd.openxmlformats-officedocument.drawingml.chart+xml"/>
  <Override PartName="/ppt/tags/tag214.xml" ContentType="application/vnd.openxmlformats-officedocument.presentationml.tags+xml"/>
  <Override PartName="/ppt/charts/chart187.xml" ContentType="application/vnd.openxmlformats-officedocument.drawingml.chart+xml"/>
  <Override PartName="/ppt/tags/tag215.xml" ContentType="application/vnd.openxmlformats-officedocument.presentationml.tags+xml"/>
  <Override PartName="/ppt/charts/chart188.xml" ContentType="application/vnd.openxmlformats-officedocument.drawingml.chart+xml"/>
  <Override PartName="/ppt/tags/tag216.xml" ContentType="application/vnd.openxmlformats-officedocument.presentationml.tags+xml"/>
  <Override PartName="/ppt/charts/chart189.xml" ContentType="application/vnd.openxmlformats-officedocument.drawingml.chart+xml"/>
  <Override PartName="/ppt/tags/tag217.xml" ContentType="application/vnd.openxmlformats-officedocument.presentationml.tags+xml"/>
  <Override PartName="/ppt/charts/chart190.xml" ContentType="application/vnd.openxmlformats-officedocument.drawingml.chart+xml"/>
  <Override PartName="/ppt/tags/tag218.xml" ContentType="application/vnd.openxmlformats-officedocument.presentationml.tags+xml"/>
  <Override PartName="/ppt/charts/chart191.xml" ContentType="application/vnd.openxmlformats-officedocument.drawingml.chart+xml"/>
  <Override PartName="/ppt/tags/tag219.xml" ContentType="application/vnd.openxmlformats-officedocument.presentationml.tags+xml"/>
  <Override PartName="/ppt/charts/chart192.xml" ContentType="application/vnd.openxmlformats-officedocument.drawingml.chart+xml"/>
  <Override PartName="/ppt/tags/tag220.xml" ContentType="application/vnd.openxmlformats-officedocument.presentationml.tags+xml"/>
  <Override PartName="/ppt/charts/chart193.xml" ContentType="application/vnd.openxmlformats-officedocument.drawingml.chart+xml"/>
  <Override PartName="/ppt/tags/tag221.xml" ContentType="application/vnd.openxmlformats-officedocument.presentationml.tags+xml"/>
  <Override PartName="/ppt/charts/chart194.xml" ContentType="application/vnd.openxmlformats-officedocument.drawingml.chart+xml"/>
  <Override PartName="/ppt/tags/tag222.xml" ContentType="application/vnd.openxmlformats-officedocument.presentationml.tags+xml"/>
  <Override PartName="/ppt/charts/chart195.xml" ContentType="application/vnd.openxmlformats-officedocument.drawingml.chart+xml"/>
  <Override PartName="/ppt/tags/tag223.xml" ContentType="application/vnd.openxmlformats-officedocument.presentationml.tags+xml"/>
  <Override PartName="/ppt/charts/chart196.xml" ContentType="application/vnd.openxmlformats-officedocument.drawingml.chart+xml"/>
  <Override PartName="/ppt/tags/tag224.xml" ContentType="application/vnd.openxmlformats-officedocument.presentationml.tags+xml"/>
  <Override PartName="/ppt/charts/chart197.xml" ContentType="application/vnd.openxmlformats-officedocument.drawingml.chart+xml"/>
  <Override PartName="/ppt/tags/tag225.xml" ContentType="application/vnd.openxmlformats-officedocument.presentationml.tags+xml"/>
  <Override PartName="/ppt/charts/chart198.xml" ContentType="application/vnd.openxmlformats-officedocument.drawingml.chart+xml"/>
  <Override PartName="/ppt/tags/tag226.xml" ContentType="application/vnd.openxmlformats-officedocument.presentationml.tags+xml"/>
  <Override PartName="/ppt/charts/chart199.xml" ContentType="application/vnd.openxmlformats-officedocument.drawingml.chart+xml"/>
  <Override PartName="/ppt/tags/tag227.xml" ContentType="application/vnd.openxmlformats-officedocument.presentationml.tags+xml"/>
  <Override PartName="/ppt/charts/chart200.xml" ContentType="application/vnd.openxmlformats-officedocument.drawingml.chart+xml"/>
  <Override PartName="/ppt/tags/tag228.xml" ContentType="application/vnd.openxmlformats-officedocument.presentationml.tags+xml"/>
  <Override PartName="/ppt/charts/chart201.xml" ContentType="application/vnd.openxmlformats-officedocument.drawingml.chart+xml"/>
  <Override PartName="/ppt/tags/tag229.xml" ContentType="application/vnd.openxmlformats-officedocument.presentationml.tags+xml"/>
  <Override PartName="/ppt/charts/chart202.xml" ContentType="application/vnd.openxmlformats-officedocument.drawingml.chart+xml"/>
  <Override PartName="/ppt/tags/tag230.xml" ContentType="application/vnd.openxmlformats-officedocument.presentationml.tags+xml"/>
  <Override PartName="/ppt/charts/chart203.xml" ContentType="application/vnd.openxmlformats-officedocument.drawingml.chart+xml"/>
  <Override PartName="/ppt/tags/tag231.xml" ContentType="application/vnd.openxmlformats-officedocument.presentationml.tags+xml"/>
  <Override PartName="/ppt/charts/chart204.xml" ContentType="application/vnd.openxmlformats-officedocument.drawingml.chart+xml"/>
  <Override PartName="/ppt/tags/tag232.xml" ContentType="application/vnd.openxmlformats-officedocument.presentationml.tags+xml"/>
  <Override PartName="/ppt/charts/chart205.xml" ContentType="application/vnd.openxmlformats-officedocument.drawingml.chart+xml"/>
  <Override PartName="/ppt/tags/tag233.xml" ContentType="application/vnd.openxmlformats-officedocument.presentationml.tags+xml"/>
  <Override PartName="/ppt/charts/chart206.xml" ContentType="application/vnd.openxmlformats-officedocument.drawingml.chart+xml"/>
  <Override PartName="/ppt/tags/tag234.xml" ContentType="application/vnd.openxmlformats-officedocument.presentationml.tags+xml"/>
  <Override PartName="/ppt/charts/chart207.xml" ContentType="application/vnd.openxmlformats-officedocument.drawingml.chart+xml"/>
  <Override PartName="/ppt/tags/tag235.xml" ContentType="application/vnd.openxmlformats-officedocument.presentationml.tags+xml"/>
  <Override PartName="/ppt/charts/chart208.xml" ContentType="application/vnd.openxmlformats-officedocument.drawingml.chart+xml"/>
  <Override PartName="/ppt/tags/tag236.xml" ContentType="application/vnd.openxmlformats-officedocument.presentationml.tags+xml"/>
  <Override PartName="/ppt/charts/chart209.xml" ContentType="application/vnd.openxmlformats-officedocument.drawingml.chart+xml"/>
  <Override PartName="/ppt/tags/tag237.xml" ContentType="application/vnd.openxmlformats-officedocument.presentationml.tags+xml"/>
  <Override PartName="/ppt/charts/chart210.xml" ContentType="application/vnd.openxmlformats-officedocument.drawingml.chart+xml"/>
  <Override PartName="/ppt/tags/tag238.xml" ContentType="application/vnd.openxmlformats-officedocument.presentationml.tags+xml"/>
  <Override PartName="/ppt/charts/chart211.xml" ContentType="application/vnd.openxmlformats-officedocument.drawingml.chart+xml"/>
  <Override PartName="/ppt/tags/tag239.xml" ContentType="application/vnd.openxmlformats-officedocument.presentationml.tags+xml"/>
  <Override PartName="/ppt/charts/chart212.xml" ContentType="application/vnd.openxmlformats-officedocument.drawingml.chart+xml"/>
  <Override PartName="/ppt/tags/tag240.xml" ContentType="application/vnd.openxmlformats-officedocument.presentationml.tags+xml"/>
  <Override PartName="/ppt/charts/chart213.xml" ContentType="application/vnd.openxmlformats-officedocument.drawingml.chart+xml"/>
  <Override PartName="/ppt/tags/tag241.xml" ContentType="application/vnd.openxmlformats-officedocument.presentationml.tags+xml"/>
  <Override PartName="/ppt/charts/chart214.xml" ContentType="application/vnd.openxmlformats-officedocument.drawingml.chart+xml"/>
  <Override PartName="/ppt/tags/tag242.xml" ContentType="application/vnd.openxmlformats-officedocument.presentationml.tags+xml"/>
  <Override PartName="/ppt/charts/chart215.xml" ContentType="application/vnd.openxmlformats-officedocument.drawingml.chart+xml"/>
  <Override PartName="/ppt/tags/tag243.xml" ContentType="application/vnd.openxmlformats-officedocument.presentationml.tags+xml"/>
  <Override PartName="/ppt/charts/chart216.xml" ContentType="application/vnd.openxmlformats-officedocument.drawingml.chart+xml"/>
  <Override PartName="/ppt/tags/tag244.xml" ContentType="application/vnd.openxmlformats-officedocument.presentationml.tags+xml"/>
  <Override PartName="/ppt/charts/chart217.xml" ContentType="application/vnd.openxmlformats-officedocument.drawingml.chart+xml"/>
  <Override PartName="/ppt/tags/tag245.xml" ContentType="application/vnd.openxmlformats-officedocument.presentationml.tags+xml"/>
  <Override PartName="/ppt/charts/chart218.xml" ContentType="application/vnd.openxmlformats-officedocument.drawingml.chart+xml"/>
  <Override PartName="/ppt/tags/tag246.xml" ContentType="application/vnd.openxmlformats-officedocument.presentationml.tags+xml"/>
  <Override PartName="/ppt/charts/chart219.xml" ContentType="application/vnd.openxmlformats-officedocument.drawingml.chart+xml"/>
  <Override PartName="/ppt/tags/tag247.xml" ContentType="application/vnd.openxmlformats-officedocument.presentationml.tags+xml"/>
  <Override PartName="/ppt/charts/chart220.xml" ContentType="application/vnd.openxmlformats-officedocument.drawingml.chart+xml"/>
  <Override PartName="/ppt/tags/tag248.xml" ContentType="application/vnd.openxmlformats-officedocument.presentationml.tags+xml"/>
  <Override PartName="/ppt/charts/chart221.xml" ContentType="application/vnd.openxmlformats-officedocument.drawingml.chart+xml"/>
  <Override PartName="/ppt/tags/tag249.xml" ContentType="application/vnd.openxmlformats-officedocument.presentationml.tags+xml"/>
  <Override PartName="/ppt/charts/chart222.xml" ContentType="application/vnd.openxmlformats-officedocument.drawingml.chart+xml"/>
  <Override PartName="/ppt/tags/tag250.xml" ContentType="application/vnd.openxmlformats-officedocument.presentationml.tags+xml"/>
  <Override PartName="/ppt/charts/chart223.xml" ContentType="application/vnd.openxmlformats-officedocument.drawingml.chart+xml"/>
  <Override PartName="/ppt/tags/tag251.xml" ContentType="application/vnd.openxmlformats-officedocument.presentationml.tags+xml"/>
  <Override PartName="/ppt/charts/chart224.xml" ContentType="application/vnd.openxmlformats-officedocument.drawingml.chart+xml"/>
  <Override PartName="/ppt/tags/tag252.xml" ContentType="application/vnd.openxmlformats-officedocument.presentationml.tags+xml"/>
  <Override PartName="/ppt/charts/chart225.xml" ContentType="application/vnd.openxmlformats-officedocument.drawingml.chart+xml"/>
  <Override PartName="/ppt/tags/tag253.xml" ContentType="application/vnd.openxmlformats-officedocument.presentationml.tags+xml"/>
  <Override PartName="/ppt/charts/chart226.xml" ContentType="application/vnd.openxmlformats-officedocument.drawingml.chart+xml"/>
  <Override PartName="/ppt/tags/tag254.xml" ContentType="application/vnd.openxmlformats-officedocument.presentationml.tags+xml"/>
  <Override PartName="/ppt/charts/chart227.xml" ContentType="application/vnd.openxmlformats-officedocument.drawingml.chart+xml"/>
  <Override PartName="/ppt/tags/tag255.xml" ContentType="application/vnd.openxmlformats-officedocument.presentationml.tags+xml"/>
  <Override PartName="/ppt/charts/chart228.xml" ContentType="application/vnd.openxmlformats-officedocument.drawingml.chart+xml"/>
  <Override PartName="/ppt/tags/tag256.xml" ContentType="application/vnd.openxmlformats-officedocument.presentationml.tags+xml"/>
  <Override PartName="/ppt/charts/chart229.xml" ContentType="application/vnd.openxmlformats-officedocument.drawingml.chart+xml"/>
  <Override PartName="/ppt/tags/tag257.xml" ContentType="application/vnd.openxmlformats-officedocument.presentationml.tags+xml"/>
  <Override PartName="/ppt/charts/chart230.xml" ContentType="application/vnd.openxmlformats-officedocument.drawingml.chart+xml"/>
  <Override PartName="/ppt/tags/tag258.xml" ContentType="application/vnd.openxmlformats-officedocument.presentationml.tags+xml"/>
  <Override PartName="/ppt/charts/chart231.xml" ContentType="application/vnd.openxmlformats-officedocument.drawingml.chart+xml"/>
  <Override PartName="/ppt/tags/tag259.xml" ContentType="application/vnd.openxmlformats-officedocument.presentationml.tags+xml"/>
  <Override PartName="/ppt/charts/chart232.xml" ContentType="application/vnd.openxmlformats-officedocument.drawingml.chart+xml"/>
  <Override PartName="/ppt/tags/tag260.xml" ContentType="application/vnd.openxmlformats-officedocument.presentationml.tags+xml"/>
  <Override PartName="/ppt/charts/chart233.xml" ContentType="application/vnd.openxmlformats-officedocument.drawingml.chart+xml"/>
  <Override PartName="/ppt/tags/tag261.xml" ContentType="application/vnd.openxmlformats-officedocument.presentationml.tags+xml"/>
  <Override PartName="/ppt/charts/chart234.xml" ContentType="application/vnd.openxmlformats-officedocument.drawingml.chart+xml"/>
  <Override PartName="/ppt/tags/tag262.xml" ContentType="application/vnd.openxmlformats-officedocument.presentationml.tags+xml"/>
  <Override PartName="/ppt/charts/chart235.xml" ContentType="application/vnd.openxmlformats-officedocument.drawingml.chart+xml"/>
  <Override PartName="/ppt/tags/tag263.xml" ContentType="application/vnd.openxmlformats-officedocument.presentationml.tags+xml"/>
  <Override PartName="/ppt/charts/chart236.xml" ContentType="application/vnd.openxmlformats-officedocument.drawingml.chart+xml"/>
  <Override PartName="/ppt/tags/tag264.xml" ContentType="application/vnd.openxmlformats-officedocument.presentationml.tags+xml"/>
  <Override PartName="/ppt/charts/chart237.xml" ContentType="application/vnd.openxmlformats-officedocument.drawingml.chart+xml"/>
  <Override PartName="/ppt/tags/tag265.xml" ContentType="application/vnd.openxmlformats-officedocument.presentationml.tags+xml"/>
  <Override PartName="/ppt/charts/chart238.xml" ContentType="application/vnd.openxmlformats-officedocument.drawingml.chart+xml"/>
  <Override PartName="/ppt/tags/tag266.xml" ContentType="application/vnd.openxmlformats-officedocument.presentationml.tags+xml"/>
  <Override PartName="/ppt/charts/chart239.xml" ContentType="application/vnd.openxmlformats-officedocument.drawingml.chart+xml"/>
  <Override PartName="/ppt/tags/tag267.xml" ContentType="application/vnd.openxmlformats-officedocument.presentationml.tags+xml"/>
  <Override PartName="/ppt/charts/chart240.xml" ContentType="application/vnd.openxmlformats-officedocument.drawingml.chart+xml"/>
  <Override PartName="/ppt/tags/tag268.xml" ContentType="application/vnd.openxmlformats-officedocument.presentationml.tags+xml"/>
  <Override PartName="/ppt/charts/chart241.xml" ContentType="application/vnd.openxmlformats-officedocument.drawingml.chart+xml"/>
  <Override PartName="/ppt/tags/tag269.xml" ContentType="application/vnd.openxmlformats-officedocument.presentationml.tags+xml"/>
  <Override PartName="/ppt/charts/chart242.xml" ContentType="application/vnd.openxmlformats-officedocument.drawingml.chart+xml"/>
  <Override PartName="/ppt/tags/tag270.xml" ContentType="application/vnd.openxmlformats-officedocument.presentationml.tags+xml"/>
  <Override PartName="/ppt/charts/chart243.xml" ContentType="application/vnd.openxmlformats-officedocument.drawingml.chart+xml"/>
  <Override PartName="/ppt/tags/tag271.xml" ContentType="application/vnd.openxmlformats-officedocument.presentationml.tags+xml"/>
  <Override PartName="/ppt/charts/chart244.xml" ContentType="application/vnd.openxmlformats-officedocument.drawingml.chart+xml"/>
  <Override PartName="/ppt/tags/tag272.xml" ContentType="application/vnd.openxmlformats-officedocument.presentationml.tags+xml"/>
  <Override PartName="/ppt/charts/chart245.xml" ContentType="application/vnd.openxmlformats-officedocument.drawingml.chart+xml"/>
  <Override PartName="/ppt/tags/tag273.xml" ContentType="application/vnd.openxmlformats-officedocument.presentationml.tags+xml"/>
  <Override PartName="/ppt/charts/chart246.xml" ContentType="application/vnd.openxmlformats-officedocument.drawingml.chart+xml"/>
  <Override PartName="/ppt/tags/tag274.xml" ContentType="application/vnd.openxmlformats-officedocument.presentationml.tags+xml"/>
  <Override PartName="/ppt/charts/chart247.xml" ContentType="application/vnd.openxmlformats-officedocument.drawingml.chart+xml"/>
  <Override PartName="/ppt/tags/tag275.xml" ContentType="application/vnd.openxmlformats-officedocument.presentationml.tags+xml"/>
  <Override PartName="/ppt/charts/chart248.xml" ContentType="application/vnd.openxmlformats-officedocument.drawingml.chart+xml"/>
  <Override PartName="/ppt/tags/tag276.xml" ContentType="application/vnd.openxmlformats-officedocument.presentationml.tags+xml"/>
  <Override PartName="/ppt/charts/chart249.xml" ContentType="application/vnd.openxmlformats-officedocument.drawingml.chart+xml"/>
  <Override PartName="/ppt/tags/tag277.xml" ContentType="application/vnd.openxmlformats-officedocument.presentationml.tags+xml"/>
  <Override PartName="/ppt/charts/chart250.xml" ContentType="application/vnd.openxmlformats-officedocument.drawingml.chart+xml"/>
  <Override PartName="/ppt/tags/tag278.xml" ContentType="application/vnd.openxmlformats-officedocument.presentationml.tags+xml"/>
  <Override PartName="/ppt/charts/chart251.xml" ContentType="application/vnd.openxmlformats-officedocument.drawingml.chart+xml"/>
  <Override PartName="/ppt/tags/tag279.xml" ContentType="application/vnd.openxmlformats-officedocument.presentationml.tags+xml"/>
  <Override PartName="/ppt/charts/chart252.xml" ContentType="application/vnd.openxmlformats-officedocument.drawingml.chart+xml"/>
  <Override PartName="/ppt/tags/tag280.xml" ContentType="application/vnd.openxmlformats-officedocument.presentationml.tags+xml"/>
  <Override PartName="/ppt/charts/chart253.xml" ContentType="application/vnd.openxmlformats-officedocument.drawingml.chart+xml"/>
  <Override PartName="/ppt/tags/tag281.xml" ContentType="application/vnd.openxmlformats-officedocument.presentationml.tags+xml"/>
  <Override PartName="/ppt/charts/chart254.xml" ContentType="application/vnd.openxmlformats-officedocument.drawingml.chart+xml"/>
  <Override PartName="/ppt/tags/tag282.xml" ContentType="application/vnd.openxmlformats-officedocument.presentationml.tags+xml"/>
  <Override PartName="/ppt/charts/chart255.xml" ContentType="application/vnd.openxmlformats-officedocument.drawingml.chart+xml"/>
  <Override PartName="/ppt/tags/tag283.xml" ContentType="application/vnd.openxmlformats-officedocument.presentationml.tags+xml"/>
  <Override PartName="/ppt/charts/chart256.xml" ContentType="application/vnd.openxmlformats-officedocument.drawingml.chart+xml"/>
  <Override PartName="/ppt/tags/tag284.xml" ContentType="application/vnd.openxmlformats-officedocument.presentationml.tags+xml"/>
  <Override PartName="/ppt/charts/chart257.xml" ContentType="application/vnd.openxmlformats-officedocument.drawingml.chart+xml"/>
  <Override PartName="/ppt/tags/tag285.xml" ContentType="application/vnd.openxmlformats-officedocument.presentationml.tags+xml"/>
  <Override PartName="/ppt/charts/chart258.xml" ContentType="application/vnd.openxmlformats-officedocument.drawingml.chart+xml"/>
  <Override PartName="/ppt/tags/tag286.xml" ContentType="application/vnd.openxmlformats-officedocument.presentationml.tags+xml"/>
  <Override PartName="/ppt/charts/chart259.xml" ContentType="application/vnd.openxmlformats-officedocument.drawingml.chart+xml"/>
  <Override PartName="/ppt/tags/tag287.xml" ContentType="application/vnd.openxmlformats-officedocument.presentationml.tags+xml"/>
  <Override PartName="/ppt/charts/chart260.xml" ContentType="application/vnd.openxmlformats-officedocument.drawingml.chart+xml"/>
  <Override PartName="/ppt/tags/tag288.xml" ContentType="application/vnd.openxmlformats-officedocument.presentationml.tags+xml"/>
  <Override PartName="/ppt/charts/chart261.xml" ContentType="application/vnd.openxmlformats-officedocument.drawingml.chart+xml"/>
  <Override PartName="/ppt/tags/tag289.xml" ContentType="application/vnd.openxmlformats-officedocument.presentationml.tags+xml"/>
  <Override PartName="/ppt/charts/chart262.xml" ContentType="application/vnd.openxmlformats-officedocument.drawingml.chart+xml"/>
  <Override PartName="/ppt/tags/tag290.xml" ContentType="application/vnd.openxmlformats-officedocument.presentationml.tags+xml"/>
  <Override PartName="/ppt/charts/chart263.xml" ContentType="application/vnd.openxmlformats-officedocument.drawingml.chart+xml"/>
  <Override PartName="/ppt/tags/tag291.xml" ContentType="application/vnd.openxmlformats-officedocument.presentationml.tags+xml"/>
  <Override PartName="/ppt/charts/chart264.xml" ContentType="application/vnd.openxmlformats-officedocument.drawingml.chart+xml"/>
  <Override PartName="/ppt/tags/tag292.xml" ContentType="application/vnd.openxmlformats-officedocument.presentationml.tags+xml"/>
  <Override PartName="/ppt/charts/chart265.xml" ContentType="application/vnd.openxmlformats-officedocument.drawingml.chart+xml"/>
  <Override PartName="/ppt/tags/tag293.xml" ContentType="application/vnd.openxmlformats-officedocument.presentationml.tags+xml"/>
  <Override PartName="/ppt/charts/chart266.xml" ContentType="application/vnd.openxmlformats-officedocument.drawingml.chart+xml"/>
  <Override PartName="/ppt/tags/tag294.xml" ContentType="application/vnd.openxmlformats-officedocument.presentationml.tags+xml"/>
  <Override PartName="/ppt/charts/chart267.xml" ContentType="application/vnd.openxmlformats-officedocument.drawingml.chart+xml"/>
  <Override PartName="/ppt/tags/tag295.xml" ContentType="application/vnd.openxmlformats-officedocument.presentationml.tags+xml"/>
  <Override PartName="/ppt/charts/chart268.xml" ContentType="application/vnd.openxmlformats-officedocument.drawingml.chart+xml"/>
  <Override PartName="/ppt/tags/tag296.xml" ContentType="application/vnd.openxmlformats-officedocument.presentationml.tags+xml"/>
  <Override PartName="/ppt/charts/chart269.xml" ContentType="application/vnd.openxmlformats-officedocument.drawingml.chart+xml"/>
  <Override PartName="/ppt/tags/tag297.xml" ContentType="application/vnd.openxmlformats-officedocument.presentationml.tags+xml"/>
  <Override PartName="/ppt/charts/chart270.xml" ContentType="application/vnd.openxmlformats-officedocument.drawingml.chart+xml"/>
  <Override PartName="/ppt/tags/tag298.xml" ContentType="application/vnd.openxmlformats-officedocument.presentationml.tags+xml"/>
  <Override PartName="/ppt/charts/chart271.xml" ContentType="application/vnd.openxmlformats-officedocument.drawingml.chart+xml"/>
  <Override PartName="/ppt/tags/tag299.xml" ContentType="application/vnd.openxmlformats-officedocument.presentationml.tags+xml"/>
  <Override PartName="/ppt/charts/chart272.xml" ContentType="application/vnd.openxmlformats-officedocument.drawingml.chart+xml"/>
  <Override PartName="/ppt/tags/tag300.xml" ContentType="application/vnd.openxmlformats-officedocument.presentationml.tags+xml"/>
  <Override PartName="/ppt/charts/chart273.xml" ContentType="application/vnd.openxmlformats-officedocument.drawingml.chart+xml"/>
  <Override PartName="/ppt/tags/tag301.xml" ContentType="application/vnd.openxmlformats-officedocument.presentationml.tags+xml"/>
  <Override PartName="/ppt/charts/chart274.xml" ContentType="application/vnd.openxmlformats-officedocument.drawingml.chart+xml"/>
  <Override PartName="/ppt/tags/tag302.xml" ContentType="application/vnd.openxmlformats-officedocument.presentationml.tags+xml"/>
  <Override PartName="/ppt/charts/chart275.xml" ContentType="application/vnd.openxmlformats-officedocument.drawingml.chart+xml"/>
  <Override PartName="/ppt/tags/tag303.xml" ContentType="application/vnd.openxmlformats-officedocument.presentationml.tags+xml"/>
  <Override PartName="/ppt/charts/chart276.xml" ContentType="application/vnd.openxmlformats-officedocument.drawingml.chart+xml"/>
  <Override PartName="/ppt/tags/tag304.xml" ContentType="application/vnd.openxmlformats-officedocument.presentationml.tags+xml"/>
  <Override PartName="/ppt/charts/chart277.xml" ContentType="application/vnd.openxmlformats-officedocument.drawingml.chart+xml"/>
  <Override PartName="/ppt/tags/tag305.xml" ContentType="application/vnd.openxmlformats-officedocument.presentationml.tags+xml"/>
  <Override PartName="/ppt/charts/chart278.xml" ContentType="application/vnd.openxmlformats-officedocument.drawingml.chart+xml"/>
  <Override PartName="/ppt/tags/tag306.xml" ContentType="application/vnd.openxmlformats-officedocument.presentationml.tags+xml"/>
  <Override PartName="/ppt/charts/chart279.xml" ContentType="application/vnd.openxmlformats-officedocument.drawingml.chart+xml"/>
  <Override PartName="/ppt/tags/tag307.xml" ContentType="application/vnd.openxmlformats-officedocument.presentationml.tags+xml"/>
  <Override PartName="/ppt/charts/chart280.xml" ContentType="application/vnd.openxmlformats-officedocument.drawingml.chart+xml"/>
  <Override PartName="/ppt/tags/tag308.xml" ContentType="application/vnd.openxmlformats-officedocument.presentationml.tags+xml"/>
  <Override PartName="/ppt/charts/chart281.xml" ContentType="application/vnd.openxmlformats-officedocument.drawingml.chart+xml"/>
  <Override PartName="/ppt/tags/tag309.xml" ContentType="application/vnd.openxmlformats-officedocument.presentationml.tags+xml"/>
  <Override PartName="/ppt/charts/chart282.xml" ContentType="application/vnd.openxmlformats-officedocument.drawingml.chart+xml"/>
  <Override PartName="/ppt/tags/tag310.xml" ContentType="application/vnd.openxmlformats-officedocument.presentationml.tags+xml"/>
  <Override PartName="/ppt/charts/chart283.xml" ContentType="application/vnd.openxmlformats-officedocument.drawingml.chart+xml"/>
  <Override PartName="/ppt/tags/tag311.xml" ContentType="application/vnd.openxmlformats-officedocument.presentationml.tags+xml"/>
  <Override PartName="/ppt/charts/chart284.xml" ContentType="application/vnd.openxmlformats-officedocument.drawingml.chart+xml"/>
  <Override PartName="/ppt/tags/tag312.xml" ContentType="application/vnd.openxmlformats-officedocument.presentationml.tags+xml"/>
  <Override PartName="/ppt/charts/chart285.xml" ContentType="application/vnd.openxmlformats-officedocument.drawingml.chart+xml"/>
  <Override PartName="/ppt/tags/tag313.xml" ContentType="application/vnd.openxmlformats-officedocument.presentationml.tags+xml"/>
  <Override PartName="/ppt/charts/chart286.xml" ContentType="application/vnd.openxmlformats-officedocument.drawingml.chart+xml"/>
  <Override PartName="/ppt/tags/tag314.xml" ContentType="application/vnd.openxmlformats-officedocument.presentationml.tags+xml"/>
  <Override PartName="/ppt/charts/chart287.xml" ContentType="application/vnd.openxmlformats-officedocument.drawingml.chart+xml"/>
  <Override PartName="/ppt/tags/tag315.xml" ContentType="application/vnd.openxmlformats-officedocument.presentationml.tags+xml"/>
  <Override PartName="/ppt/charts/chart288.xml" ContentType="application/vnd.openxmlformats-officedocument.drawingml.chart+xml"/>
  <Override PartName="/ppt/tags/tag316.xml" ContentType="application/vnd.openxmlformats-officedocument.presentationml.tags+xml"/>
  <Override PartName="/ppt/charts/chart289.xml" ContentType="application/vnd.openxmlformats-officedocument.drawingml.chart+xml"/>
  <Override PartName="/ppt/tags/tag317.xml" ContentType="application/vnd.openxmlformats-officedocument.presentationml.tags+xml"/>
  <Override PartName="/ppt/charts/chart290.xml" ContentType="application/vnd.openxmlformats-officedocument.drawingml.chart+xml"/>
  <Override PartName="/ppt/tags/tag318.xml" ContentType="application/vnd.openxmlformats-officedocument.presentationml.tags+xml"/>
  <Override PartName="/ppt/charts/chart291.xml" ContentType="application/vnd.openxmlformats-officedocument.drawingml.chart+xml"/>
  <Override PartName="/ppt/tags/tag319.xml" ContentType="application/vnd.openxmlformats-officedocument.presentationml.tags+xml"/>
  <Override PartName="/ppt/charts/chart292.xml" ContentType="application/vnd.openxmlformats-officedocument.drawingml.chart+xml"/>
  <Override PartName="/ppt/tags/tag320.xml" ContentType="application/vnd.openxmlformats-officedocument.presentationml.tags+xml"/>
  <Override PartName="/ppt/charts/chart293.xml" ContentType="application/vnd.openxmlformats-officedocument.drawingml.chart+xml"/>
  <Override PartName="/ppt/tags/tag321.xml" ContentType="application/vnd.openxmlformats-officedocument.presentationml.tags+xml"/>
  <Override PartName="/ppt/charts/chart294.xml" ContentType="application/vnd.openxmlformats-officedocument.drawingml.chart+xml"/>
  <Override PartName="/ppt/tags/tag322.xml" ContentType="application/vnd.openxmlformats-officedocument.presentationml.tags+xml"/>
  <Override PartName="/ppt/charts/chart295.xml" ContentType="application/vnd.openxmlformats-officedocument.drawingml.chart+xml"/>
  <Override PartName="/ppt/tags/tag323.xml" ContentType="application/vnd.openxmlformats-officedocument.presentationml.tags+xml"/>
  <Override PartName="/ppt/charts/chart296.xml" ContentType="application/vnd.openxmlformats-officedocument.drawingml.chart+xml"/>
  <Override PartName="/ppt/tags/tag324.xml" ContentType="application/vnd.openxmlformats-officedocument.presentationml.tags+xml"/>
  <Override PartName="/ppt/charts/chart297.xml" ContentType="application/vnd.openxmlformats-officedocument.drawingml.chart+xml"/>
  <Override PartName="/ppt/tags/tag325.xml" ContentType="application/vnd.openxmlformats-officedocument.presentationml.tags+xml"/>
  <Override PartName="/ppt/charts/chart298.xml" ContentType="application/vnd.openxmlformats-officedocument.drawingml.chart+xml"/>
  <Override PartName="/ppt/tags/tag326.xml" ContentType="application/vnd.openxmlformats-officedocument.presentationml.tags+xml"/>
  <Override PartName="/ppt/charts/chart299.xml" ContentType="application/vnd.openxmlformats-officedocument.drawingml.chart+xml"/>
  <Override PartName="/ppt/tags/tag327.xml" ContentType="application/vnd.openxmlformats-officedocument.presentationml.tags+xml"/>
  <Override PartName="/ppt/charts/chart300.xml" ContentType="application/vnd.openxmlformats-officedocument.drawingml.chart+xml"/>
  <Override PartName="/ppt/tags/tag328.xml" ContentType="application/vnd.openxmlformats-officedocument.presentationml.tags+xml"/>
  <Override PartName="/ppt/charts/chart301.xml" ContentType="application/vnd.openxmlformats-officedocument.drawingml.chart+xml"/>
  <Override PartName="/ppt/tags/tag329.xml" ContentType="application/vnd.openxmlformats-officedocument.presentationml.tags+xml"/>
  <Override PartName="/ppt/charts/chart302.xml" ContentType="application/vnd.openxmlformats-officedocument.drawingml.chart+xml"/>
  <Override PartName="/ppt/tags/tag330.xml" ContentType="application/vnd.openxmlformats-officedocument.presentationml.tags+xml"/>
  <Override PartName="/ppt/charts/chart303.xml" ContentType="application/vnd.openxmlformats-officedocument.drawingml.chart+xml"/>
  <Override PartName="/ppt/tags/tag331.xml" ContentType="application/vnd.openxmlformats-officedocument.presentationml.tags+xml"/>
  <Override PartName="/ppt/charts/chart304.xml" ContentType="application/vnd.openxmlformats-officedocument.drawingml.chart+xml"/>
  <Override PartName="/ppt/tags/tag332.xml" ContentType="application/vnd.openxmlformats-officedocument.presentationml.tags+xml"/>
  <Override PartName="/ppt/charts/chart305.xml" ContentType="application/vnd.openxmlformats-officedocument.drawingml.chart+xml"/>
  <Override PartName="/ppt/tags/tag333.xml" ContentType="application/vnd.openxmlformats-officedocument.presentationml.tags+xml"/>
  <Override PartName="/ppt/charts/chart306.xml" ContentType="application/vnd.openxmlformats-officedocument.drawingml.chart+xml"/>
  <Override PartName="/ppt/tags/tag334.xml" ContentType="application/vnd.openxmlformats-officedocument.presentationml.tags+xml"/>
  <Override PartName="/ppt/charts/chart307.xml" ContentType="application/vnd.openxmlformats-officedocument.drawingml.chart+xml"/>
  <Override PartName="/ppt/tags/tag335.xml" ContentType="application/vnd.openxmlformats-officedocument.presentationml.tags+xml"/>
  <Override PartName="/ppt/charts/chart308.xml" ContentType="application/vnd.openxmlformats-officedocument.drawingml.chart+xml"/>
  <Override PartName="/ppt/tags/tag336.xml" ContentType="application/vnd.openxmlformats-officedocument.presentationml.tags+xml"/>
  <Override PartName="/ppt/charts/chart309.xml" ContentType="application/vnd.openxmlformats-officedocument.drawingml.chart+xml"/>
  <Override PartName="/ppt/tags/tag337.xml" ContentType="application/vnd.openxmlformats-officedocument.presentationml.tags+xml"/>
  <Override PartName="/ppt/charts/chart310.xml" ContentType="application/vnd.openxmlformats-officedocument.drawingml.chart+xml"/>
  <Override PartName="/ppt/tags/tag338.xml" ContentType="application/vnd.openxmlformats-officedocument.presentationml.tags+xml"/>
  <Override PartName="/ppt/charts/chart311.xml" ContentType="application/vnd.openxmlformats-officedocument.drawingml.chart+xml"/>
  <Override PartName="/ppt/tags/tag339.xml" ContentType="application/vnd.openxmlformats-officedocument.presentationml.tags+xml"/>
  <Override PartName="/ppt/charts/chart312.xml" ContentType="application/vnd.openxmlformats-officedocument.drawingml.chart+xml"/>
  <Override PartName="/ppt/tags/tag340.xml" ContentType="application/vnd.openxmlformats-officedocument.presentationml.tags+xml"/>
  <Override PartName="/ppt/charts/chart313.xml" ContentType="application/vnd.openxmlformats-officedocument.drawingml.chart+xml"/>
  <Override PartName="/ppt/tags/tag341.xml" ContentType="application/vnd.openxmlformats-officedocument.presentationml.tags+xml"/>
  <Override PartName="/ppt/charts/chart314.xml" ContentType="application/vnd.openxmlformats-officedocument.drawingml.chart+xml"/>
  <Override PartName="/ppt/tags/tag342.xml" ContentType="application/vnd.openxmlformats-officedocument.presentationml.tags+xml"/>
  <Override PartName="/ppt/charts/chart315.xml" ContentType="application/vnd.openxmlformats-officedocument.drawingml.chart+xml"/>
  <Override PartName="/ppt/tags/tag343.xml" ContentType="application/vnd.openxmlformats-officedocument.presentationml.tags+xml"/>
  <Override PartName="/ppt/charts/chart316.xml" ContentType="application/vnd.openxmlformats-officedocument.drawingml.chart+xml"/>
  <Override PartName="/ppt/tags/tag344.xml" ContentType="application/vnd.openxmlformats-officedocument.presentationml.tags+xml"/>
  <Override PartName="/ppt/charts/chart317.xml" ContentType="application/vnd.openxmlformats-officedocument.drawingml.chart+xml"/>
  <Override PartName="/ppt/tags/tag345.xml" ContentType="application/vnd.openxmlformats-officedocument.presentationml.tags+xml"/>
  <Override PartName="/ppt/charts/chart318.xml" ContentType="application/vnd.openxmlformats-officedocument.drawingml.chart+xml"/>
  <Override PartName="/ppt/tags/tag346.xml" ContentType="application/vnd.openxmlformats-officedocument.presentationml.tags+xml"/>
  <Override PartName="/ppt/charts/chart319.xml" ContentType="application/vnd.openxmlformats-officedocument.drawingml.chart+xml"/>
  <Override PartName="/ppt/tags/tag347.xml" ContentType="application/vnd.openxmlformats-officedocument.presentationml.tags+xml"/>
  <Override PartName="/ppt/charts/chart320.xml" ContentType="application/vnd.openxmlformats-officedocument.drawingml.chart+xml"/>
  <Override PartName="/ppt/tags/tag348.xml" ContentType="application/vnd.openxmlformats-officedocument.presentationml.tags+xml"/>
  <Override PartName="/ppt/charts/chart321.xml" ContentType="application/vnd.openxmlformats-officedocument.drawingml.chart+xml"/>
  <Override PartName="/ppt/tags/tag349.xml" ContentType="application/vnd.openxmlformats-officedocument.presentationml.tags+xml"/>
  <Override PartName="/ppt/charts/chart322.xml" ContentType="application/vnd.openxmlformats-officedocument.drawingml.chart+xml"/>
  <Override PartName="/ppt/tags/tag350.xml" ContentType="application/vnd.openxmlformats-officedocument.presentationml.tags+xml"/>
  <Override PartName="/ppt/charts/chart323.xml" ContentType="application/vnd.openxmlformats-officedocument.drawingml.chart+xml"/>
  <Override PartName="/ppt/tags/tag351.xml" ContentType="application/vnd.openxmlformats-officedocument.presentationml.tags+xml"/>
  <Override PartName="/ppt/charts/chart324.xml" ContentType="application/vnd.openxmlformats-officedocument.drawingml.chart+xml"/>
  <Override PartName="/ppt/tags/tag352.xml" ContentType="application/vnd.openxmlformats-officedocument.presentationml.tags+xml"/>
  <Override PartName="/ppt/charts/chart325.xml" ContentType="application/vnd.openxmlformats-officedocument.drawingml.chart+xml"/>
  <Override PartName="/ppt/tags/tag353.xml" ContentType="application/vnd.openxmlformats-officedocument.presentationml.tags+xml"/>
  <Override PartName="/ppt/charts/chart326.xml" ContentType="application/vnd.openxmlformats-officedocument.drawingml.chart+xml"/>
  <Override PartName="/ppt/tags/tag354.xml" ContentType="application/vnd.openxmlformats-officedocument.presentationml.tags+xml"/>
  <Override PartName="/ppt/charts/chart327.xml" ContentType="application/vnd.openxmlformats-officedocument.drawingml.chart+xml"/>
  <Override PartName="/ppt/tags/tag355.xml" ContentType="application/vnd.openxmlformats-officedocument.presentationml.tags+xml"/>
  <Override PartName="/ppt/charts/chart328.xml" ContentType="application/vnd.openxmlformats-officedocument.drawingml.chart+xml"/>
  <Override PartName="/ppt/tags/tag356.xml" ContentType="application/vnd.openxmlformats-officedocument.presentationml.tags+xml"/>
  <Override PartName="/ppt/charts/chart329.xml" ContentType="application/vnd.openxmlformats-officedocument.drawingml.chart+xml"/>
  <Override PartName="/ppt/tags/tag357.xml" ContentType="application/vnd.openxmlformats-officedocument.presentationml.tags+xml"/>
  <Override PartName="/ppt/charts/chart330.xml" ContentType="application/vnd.openxmlformats-officedocument.drawingml.chart+xml"/>
  <Override PartName="/ppt/tags/tag358.xml" ContentType="application/vnd.openxmlformats-officedocument.presentationml.tags+xml"/>
  <Override PartName="/ppt/charts/chart331.xml" ContentType="application/vnd.openxmlformats-officedocument.drawingml.chart+xml"/>
  <Override PartName="/ppt/tags/tag359.xml" ContentType="application/vnd.openxmlformats-officedocument.presentationml.tags+xml"/>
  <Override PartName="/ppt/charts/chart332.xml" ContentType="application/vnd.openxmlformats-officedocument.drawingml.chart+xml"/>
  <Override PartName="/ppt/tags/tag360.xml" ContentType="application/vnd.openxmlformats-officedocument.presentationml.tags+xml"/>
  <Override PartName="/ppt/charts/chart333.xml" ContentType="application/vnd.openxmlformats-officedocument.drawingml.chart+xml"/>
  <Override PartName="/ppt/tags/tag361.xml" ContentType="application/vnd.openxmlformats-officedocument.presentationml.tags+xml"/>
  <Override PartName="/ppt/charts/chart334.xml" ContentType="application/vnd.openxmlformats-officedocument.drawingml.chart+xml"/>
  <Override PartName="/ppt/tags/tag362.xml" ContentType="application/vnd.openxmlformats-officedocument.presentationml.tags+xml"/>
  <Override PartName="/ppt/charts/chart335.xml" ContentType="application/vnd.openxmlformats-officedocument.drawingml.chart+xml"/>
  <Override PartName="/ppt/tags/tag363.xml" ContentType="application/vnd.openxmlformats-officedocument.presentationml.tags+xml"/>
  <Override PartName="/ppt/charts/chart336.xml" ContentType="application/vnd.openxmlformats-officedocument.drawingml.chart+xml"/>
  <Override PartName="/ppt/tags/tag364.xml" ContentType="application/vnd.openxmlformats-officedocument.presentationml.tags+xml"/>
  <Override PartName="/ppt/charts/chart337.xml" ContentType="application/vnd.openxmlformats-officedocument.drawingml.chart+xml"/>
  <Override PartName="/ppt/tags/tag365.xml" ContentType="application/vnd.openxmlformats-officedocument.presentationml.tags+xml"/>
  <Override PartName="/ppt/charts/chart338.xml" ContentType="application/vnd.openxmlformats-officedocument.drawingml.chart+xml"/>
  <Override PartName="/ppt/tags/tag366.xml" ContentType="application/vnd.openxmlformats-officedocument.presentationml.tags+xml"/>
  <Override PartName="/ppt/charts/chart339.xml" ContentType="application/vnd.openxmlformats-officedocument.drawingml.chart+xml"/>
  <Override PartName="/ppt/tags/tag367.xml" ContentType="application/vnd.openxmlformats-officedocument.presentationml.tags+xml"/>
  <Override PartName="/ppt/charts/chart340.xml" ContentType="application/vnd.openxmlformats-officedocument.drawingml.chart+xml"/>
  <Override PartName="/ppt/tags/tag368.xml" ContentType="application/vnd.openxmlformats-officedocument.presentationml.tags+xml"/>
  <Override PartName="/ppt/charts/chart341.xml" ContentType="application/vnd.openxmlformats-officedocument.drawingml.chart+xml"/>
  <Override PartName="/ppt/tags/tag369.xml" ContentType="application/vnd.openxmlformats-officedocument.presentationml.tags+xml"/>
  <Override PartName="/ppt/charts/chart342.xml" ContentType="application/vnd.openxmlformats-officedocument.drawingml.chart+xml"/>
  <Override PartName="/ppt/tags/tag370.xml" ContentType="application/vnd.openxmlformats-officedocument.presentationml.tags+xml"/>
  <Override PartName="/ppt/charts/chart343.xml" ContentType="application/vnd.openxmlformats-officedocument.drawingml.chart+xml"/>
  <Override PartName="/ppt/tags/tag371.xml" ContentType="application/vnd.openxmlformats-officedocument.presentationml.tags+xml"/>
  <Override PartName="/ppt/charts/chart344.xml" ContentType="application/vnd.openxmlformats-officedocument.drawingml.chart+xml"/>
  <Override PartName="/ppt/tags/tag372.xml" ContentType="application/vnd.openxmlformats-officedocument.presentationml.tags+xml"/>
  <Override PartName="/ppt/charts/chart345.xml" ContentType="application/vnd.openxmlformats-officedocument.drawingml.chart+xml"/>
  <Override PartName="/ppt/tags/tag373.xml" ContentType="application/vnd.openxmlformats-officedocument.presentationml.tags+xml"/>
  <Override PartName="/ppt/charts/chart346.xml" ContentType="application/vnd.openxmlformats-officedocument.drawingml.chart+xml"/>
  <Override PartName="/ppt/tags/tag374.xml" ContentType="application/vnd.openxmlformats-officedocument.presentationml.tags+xml"/>
  <Override PartName="/ppt/charts/chart347.xml" ContentType="application/vnd.openxmlformats-officedocument.drawingml.chart+xml"/>
  <Override PartName="/ppt/tags/tag375.xml" ContentType="application/vnd.openxmlformats-officedocument.presentationml.tags+xml"/>
  <Override PartName="/ppt/charts/chart348.xml" ContentType="application/vnd.openxmlformats-officedocument.drawingml.chart+xml"/>
  <Override PartName="/ppt/tags/tag376.xml" ContentType="application/vnd.openxmlformats-officedocument.presentationml.tags+xml"/>
  <Override PartName="/ppt/charts/chart349.xml" ContentType="application/vnd.openxmlformats-officedocument.drawingml.chart+xml"/>
  <Override PartName="/ppt/tags/tag377.xml" ContentType="application/vnd.openxmlformats-officedocument.presentationml.tags+xml"/>
  <Override PartName="/ppt/charts/chart350.xml" ContentType="application/vnd.openxmlformats-officedocument.drawingml.chart+xml"/>
  <Override PartName="/ppt/tags/tag378.xml" ContentType="application/vnd.openxmlformats-officedocument.presentationml.tags+xml"/>
  <Override PartName="/ppt/charts/chart351.xml" ContentType="application/vnd.openxmlformats-officedocument.drawingml.chart+xml"/>
  <Override PartName="/ppt/tags/tag379.xml" ContentType="application/vnd.openxmlformats-officedocument.presentationml.tags+xml"/>
  <Override PartName="/ppt/charts/chart352.xml" ContentType="application/vnd.openxmlformats-officedocument.drawingml.chart+xml"/>
  <Override PartName="/ppt/tags/tag380.xml" ContentType="application/vnd.openxmlformats-officedocument.presentationml.tags+xml"/>
  <Override PartName="/ppt/charts/chart353.xml" ContentType="application/vnd.openxmlformats-officedocument.drawingml.chart+xml"/>
  <Override PartName="/ppt/tags/tag381.xml" ContentType="application/vnd.openxmlformats-officedocument.presentationml.tags+xml"/>
  <Override PartName="/ppt/charts/chart354.xml" ContentType="application/vnd.openxmlformats-officedocument.drawingml.chart+xml"/>
  <Override PartName="/ppt/tags/tag382.xml" ContentType="application/vnd.openxmlformats-officedocument.presentationml.tags+xml"/>
  <Override PartName="/ppt/charts/chart355.xml" ContentType="application/vnd.openxmlformats-officedocument.drawingml.chart+xml"/>
  <Override PartName="/ppt/tags/tag383.xml" ContentType="application/vnd.openxmlformats-officedocument.presentationml.tags+xml"/>
  <Override PartName="/ppt/charts/chart356.xml" ContentType="application/vnd.openxmlformats-officedocument.drawingml.chart+xml"/>
  <Override PartName="/ppt/tags/tag384.xml" ContentType="application/vnd.openxmlformats-officedocument.presentationml.tags+xml"/>
  <Override PartName="/ppt/charts/chart357.xml" ContentType="application/vnd.openxmlformats-officedocument.drawingml.chart+xml"/>
  <Override PartName="/ppt/tags/tag385.xml" ContentType="application/vnd.openxmlformats-officedocument.presentationml.tags+xml"/>
  <Override PartName="/ppt/charts/chart358.xml" ContentType="application/vnd.openxmlformats-officedocument.drawingml.chart+xml"/>
  <Override PartName="/ppt/tags/tag386.xml" ContentType="application/vnd.openxmlformats-officedocument.presentationml.tags+xml"/>
  <Override PartName="/ppt/charts/chart359.xml" ContentType="application/vnd.openxmlformats-officedocument.drawingml.chart+xml"/>
  <Override PartName="/ppt/tags/tag387.xml" ContentType="application/vnd.openxmlformats-officedocument.presentationml.tags+xml"/>
  <Override PartName="/ppt/charts/chart360.xml" ContentType="application/vnd.openxmlformats-officedocument.drawingml.chart+xml"/>
  <Override PartName="/ppt/tags/tag388.xml" ContentType="application/vnd.openxmlformats-officedocument.presentationml.tags+xml"/>
  <Override PartName="/ppt/charts/chart361.xml" ContentType="application/vnd.openxmlformats-officedocument.drawingml.chart+xml"/>
  <Override PartName="/ppt/tags/tag389.xml" ContentType="application/vnd.openxmlformats-officedocument.presentationml.tags+xml"/>
  <Override PartName="/ppt/charts/chart362.xml" ContentType="application/vnd.openxmlformats-officedocument.drawingml.chart+xml"/>
  <Override PartName="/ppt/tags/tag390.xml" ContentType="application/vnd.openxmlformats-officedocument.presentationml.tags+xml"/>
  <Override PartName="/ppt/charts/chart363.xml" ContentType="application/vnd.openxmlformats-officedocument.drawingml.chart+xml"/>
  <Override PartName="/ppt/tags/tag391.xml" ContentType="application/vnd.openxmlformats-officedocument.presentationml.tags+xml"/>
  <Override PartName="/ppt/charts/chart364.xml" ContentType="application/vnd.openxmlformats-officedocument.drawingml.chart+xml"/>
  <Override PartName="/ppt/tags/tag392.xml" ContentType="application/vnd.openxmlformats-officedocument.presentationml.tags+xml"/>
  <Override PartName="/ppt/charts/chart365.xml" ContentType="application/vnd.openxmlformats-officedocument.drawingml.chart+xml"/>
  <Override PartName="/ppt/tags/tag393.xml" ContentType="application/vnd.openxmlformats-officedocument.presentationml.tags+xml"/>
  <Override PartName="/ppt/charts/chart366.xml" ContentType="application/vnd.openxmlformats-officedocument.drawingml.chart+xml"/>
  <Override PartName="/ppt/tags/tag394.xml" ContentType="application/vnd.openxmlformats-officedocument.presentationml.tags+xml"/>
  <Override PartName="/ppt/charts/chart367.xml" ContentType="application/vnd.openxmlformats-officedocument.drawingml.chart+xml"/>
  <Override PartName="/ppt/tags/tag395.xml" ContentType="application/vnd.openxmlformats-officedocument.presentationml.tags+xml"/>
  <Override PartName="/ppt/charts/chart368.xml" ContentType="application/vnd.openxmlformats-officedocument.drawingml.chart+xml"/>
  <Override PartName="/ppt/tags/tag396.xml" ContentType="application/vnd.openxmlformats-officedocument.presentationml.tags+xml"/>
  <Override PartName="/ppt/charts/chart369.xml" ContentType="application/vnd.openxmlformats-officedocument.drawingml.chart+xml"/>
  <Override PartName="/ppt/tags/tag397.xml" ContentType="application/vnd.openxmlformats-officedocument.presentationml.tags+xml"/>
  <Override PartName="/ppt/charts/chart370.xml" ContentType="application/vnd.openxmlformats-officedocument.drawingml.chart+xml"/>
  <Override PartName="/ppt/tags/tag398.xml" ContentType="application/vnd.openxmlformats-officedocument.presentationml.tags+xml"/>
  <Override PartName="/ppt/charts/chart371.xml" ContentType="application/vnd.openxmlformats-officedocument.drawingml.chart+xml"/>
  <Override PartName="/ppt/tags/tag399.xml" ContentType="application/vnd.openxmlformats-officedocument.presentationml.tags+xml"/>
  <Override PartName="/ppt/charts/chart372.xml" ContentType="application/vnd.openxmlformats-officedocument.drawingml.chart+xml"/>
  <Override PartName="/ppt/tags/tag400.xml" ContentType="application/vnd.openxmlformats-officedocument.presentationml.tags+xml"/>
  <Override PartName="/ppt/charts/chart373.xml" ContentType="application/vnd.openxmlformats-officedocument.drawingml.chart+xml"/>
  <Override PartName="/ppt/tags/tag401.xml" ContentType="application/vnd.openxmlformats-officedocument.presentationml.tags+xml"/>
  <Override PartName="/ppt/charts/chart374.xml" ContentType="application/vnd.openxmlformats-officedocument.drawingml.chart+xml"/>
  <Override PartName="/ppt/tags/tag402.xml" ContentType="application/vnd.openxmlformats-officedocument.presentationml.tags+xml"/>
  <Override PartName="/ppt/charts/chart375.xml" ContentType="application/vnd.openxmlformats-officedocument.drawingml.chart+xml"/>
  <Override PartName="/ppt/tags/tag403.xml" ContentType="application/vnd.openxmlformats-officedocument.presentationml.tags+xml"/>
  <Override PartName="/ppt/charts/chart376.xml" ContentType="application/vnd.openxmlformats-officedocument.drawingml.chart+xml"/>
  <Override PartName="/ppt/tags/tag404.xml" ContentType="application/vnd.openxmlformats-officedocument.presentationml.tags+xml"/>
  <Override PartName="/ppt/charts/chart377.xml" ContentType="application/vnd.openxmlformats-officedocument.drawingml.chart+xml"/>
  <Override PartName="/ppt/tags/tag405.xml" ContentType="application/vnd.openxmlformats-officedocument.presentationml.tags+xml"/>
  <Override PartName="/ppt/charts/chart378.xml" ContentType="application/vnd.openxmlformats-officedocument.drawingml.chart+xml"/>
  <Override PartName="/ppt/tags/tag406.xml" ContentType="application/vnd.openxmlformats-officedocument.presentationml.tags+xml"/>
  <Override PartName="/ppt/charts/chart379.xml" ContentType="application/vnd.openxmlformats-officedocument.drawingml.chart+xml"/>
  <Override PartName="/ppt/tags/tag407.xml" ContentType="application/vnd.openxmlformats-officedocument.presentationml.tags+xml"/>
  <Override PartName="/ppt/charts/chart380.xml" ContentType="application/vnd.openxmlformats-officedocument.drawingml.chart+xml"/>
  <Override PartName="/ppt/tags/tag408.xml" ContentType="application/vnd.openxmlformats-officedocument.presentationml.tags+xml"/>
  <Override PartName="/ppt/charts/chart381.xml" ContentType="application/vnd.openxmlformats-officedocument.drawingml.chart+xml"/>
  <Override PartName="/ppt/tags/tag409.xml" ContentType="application/vnd.openxmlformats-officedocument.presentationml.tags+xml"/>
  <Override PartName="/ppt/charts/chart382.xml" ContentType="application/vnd.openxmlformats-officedocument.drawingml.chart+xml"/>
  <Override PartName="/ppt/tags/tag410.xml" ContentType="application/vnd.openxmlformats-officedocument.presentationml.tags+xml"/>
  <Override PartName="/ppt/charts/chart383.xml" ContentType="application/vnd.openxmlformats-officedocument.drawingml.chart+xml"/>
  <Override PartName="/ppt/tags/tag411.xml" ContentType="application/vnd.openxmlformats-officedocument.presentationml.tags+xml"/>
  <Override PartName="/ppt/charts/chart384.xml" ContentType="application/vnd.openxmlformats-officedocument.drawingml.chart+xml"/>
  <Override PartName="/ppt/tags/tag412.xml" ContentType="application/vnd.openxmlformats-officedocument.presentationml.tags+xml"/>
  <Override PartName="/ppt/charts/chart385.xml" ContentType="application/vnd.openxmlformats-officedocument.drawingml.chart+xml"/>
  <Override PartName="/ppt/tags/tag413.xml" ContentType="application/vnd.openxmlformats-officedocument.presentationml.tags+xml"/>
  <Override PartName="/ppt/charts/chart386.xml" ContentType="application/vnd.openxmlformats-officedocument.drawingml.chart+xml"/>
  <Override PartName="/ppt/tags/tag414.xml" ContentType="application/vnd.openxmlformats-officedocument.presentationml.tags+xml"/>
  <Override PartName="/ppt/charts/chart387.xml" ContentType="application/vnd.openxmlformats-officedocument.drawingml.chart+xml"/>
  <Override PartName="/ppt/tags/tag415.xml" ContentType="application/vnd.openxmlformats-officedocument.presentationml.tags+xml"/>
  <Override PartName="/ppt/charts/chart388.xml" ContentType="application/vnd.openxmlformats-officedocument.drawingml.chart+xml"/>
  <Override PartName="/ppt/tags/tag416.xml" ContentType="application/vnd.openxmlformats-officedocument.presentationml.tags+xml"/>
  <Override PartName="/ppt/charts/chart389.xml" ContentType="application/vnd.openxmlformats-officedocument.drawingml.chart+xml"/>
  <Override PartName="/ppt/tags/tag417.xml" ContentType="application/vnd.openxmlformats-officedocument.presentationml.tags+xml"/>
  <Override PartName="/ppt/charts/chart390.xml" ContentType="application/vnd.openxmlformats-officedocument.drawingml.chart+xml"/>
  <Override PartName="/ppt/tags/tag418.xml" ContentType="application/vnd.openxmlformats-officedocument.presentationml.tags+xml"/>
  <Override PartName="/ppt/charts/chart391.xml" ContentType="application/vnd.openxmlformats-officedocument.drawingml.chart+xml"/>
  <Override PartName="/ppt/tags/tag419.xml" ContentType="application/vnd.openxmlformats-officedocument.presentationml.tags+xml"/>
  <Override PartName="/ppt/charts/chart392.xml" ContentType="application/vnd.openxmlformats-officedocument.drawingml.chart+xml"/>
  <Override PartName="/ppt/tags/tag420.xml" ContentType="application/vnd.openxmlformats-officedocument.presentationml.tags+xml"/>
  <Override PartName="/ppt/charts/chart393.xml" ContentType="application/vnd.openxmlformats-officedocument.drawingml.chart+xml"/>
  <Override PartName="/ppt/tags/tag421.xml" ContentType="application/vnd.openxmlformats-officedocument.presentationml.tags+xml"/>
  <Override PartName="/ppt/charts/chart394.xml" ContentType="application/vnd.openxmlformats-officedocument.drawingml.chart+xml"/>
  <Override PartName="/ppt/tags/tag422.xml" ContentType="application/vnd.openxmlformats-officedocument.presentationml.tags+xml"/>
  <Override PartName="/ppt/charts/chart395.xml" ContentType="application/vnd.openxmlformats-officedocument.drawingml.chart+xml"/>
  <Override PartName="/ppt/tags/tag423.xml" ContentType="application/vnd.openxmlformats-officedocument.presentationml.tags+xml"/>
  <Override PartName="/ppt/charts/chart396.xml" ContentType="application/vnd.openxmlformats-officedocument.drawingml.chart+xml"/>
  <Override PartName="/ppt/tags/tag424.xml" ContentType="application/vnd.openxmlformats-officedocument.presentationml.tags+xml"/>
  <Override PartName="/ppt/charts/chart397.xml" ContentType="application/vnd.openxmlformats-officedocument.drawingml.chart+xml"/>
  <Override PartName="/ppt/tags/tag425.xml" ContentType="application/vnd.openxmlformats-officedocument.presentationml.tags+xml"/>
  <Override PartName="/ppt/charts/chart398.xml" ContentType="application/vnd.openxmlformats-officedocument.drawingml.chart+xml"/>
  <Override PartName="/ppt/tags/tag426.xml" ContentType="application/vnd.openxmlformats-officedocument.presentationml.tags+xml"/>
  <Override PartName="/ppt/charts/chart399.xml" ContentType="application/vnd.openxmlformats-officedocument.drawingml.chart+xml"/>
  <Override PartName="/ppt/tags/tag427.xml" ContentType="application/vnd.openxmlformats-officedocument.presentationml.tags+xml"/>
  <Override PartName="/ppt/charts/chart400.xml" ContentType="application/vnd.openxmlformats-officedocument.drawingml.chart+xml"/>
  <Override PartName="/ppt/tags/tag428.xml" ContentType="application/vnd.openxmlformats-officedocument.presentationml.tags+xml"/>
  <Override PartName="/ppt/charts/chart401.xml" ContentType="application/vnd.openxmlformats-officedocument.drawingml.chart+xml"/>
  <Override PartName="/ppt/tags/tag429.xml" ContentType="application/vnd.openxmlformats-officedocument.presentationml.tags+xml"/>
  <Override PartName="/ppt/charts/chart402.xml" ContentType="application/vnd.openxmlformats-officedocument.drawingml.chart+xml"/>
  <Override PartName="/ppt/tags/tag430.xml" ContentType="application/vnd.openxmlformats-officedocument.presentationml.tags+xml"/>
  <Override PartName="/ppt/charts/chart403.xml" ContentType="application/vnd.openxmlformats-officedocument.drawingml.chart+xml"/>
  <Override PartName="/ppt/tags/tag431.xml" ContentType="application/vnd.openxmlformats-officedocument.presentationml.tags+xml"/>
  <Override PartName="/ppt/charts/chart404.xml" ContentType="application/vnd.openxmlformats-officedocument.drawingml.chart+xml"/>
  <Override PartName="/ppt/tags/tag432.xml" ContentType="application/vnd.openxmlformats-officedocument.presentationml.tags+xml"/>
  <Override PartName="/ppt/charts/chart405.xml" ContentType="application/vnd.openxmlformats-officedocument.drawingml.chart+xml"/>
  <Override PartName="/ppt/tags/tag433.xml" ContentType="application/vnd.openxmlformats-officedocument.presentationml.tags+xml"/>
  <Override PartName="/ppt/charts/chart406.xml" ContentType="application/vnd.openxmlformats-officedocument.drawingml.chart+xml"/>
  <Override PartName="/ppt/tags/tag434.xml" ContentType="application/vnd.openxmlformats-officedocument.presentationml.tags+xml"/>
  <Override PartName="/ppt/charts/chart407.xml" ContentType="application/vnd.openxmlformats-officedocument.drawingml.chart+xml"/>
  <Override PartName="/ppt/tags/tag435.xml" ContentType="application/vnd.openxmlformats-officedocument.presentationml.tags+xml"/>
  <Override PartName="/ppt/charts/chart408.xml" ContentType="application/vnd.openxmlformats-officedocument.drawingml.chart+xml"/>
  <Override PartName="/ppt/tags/tag436.xml" ContentType="application/vnd.openxmlformats-officedocument.presentationml.tags+xml"/>
  <Override PartName="/ppt/charts/chart409.xml" ContentType="application/vnd.openxmlformats-officedocument.drawingml.chart+xml"/>
  <Override PartName="/ppt/tags/tag437.xml" ContentType="application/vnd.openxmlformats-officedocument.presentationml.tags+xml"/>
  <Override PartName="/ppt/charts/chart410.xml" ContentType="application/vnd.openxmlformats-officedocument.drawingml.chart+xml"/>
  <Override PartName="/ppt/tags/tag438.xml" ContentType="application/vnd.openxmlformats-officedocument.presentationml.tags+xml"/>
  <Override PartName="/ppt/charts/chart411.xml" ContentType="application/vnd.openxmlformats-officedocument.drawingml.chart+xml"/>
  <Override PartName="/ppt/tags/tag439.xml" ContentType="application/vnd.openxmlformats-officedocument.presentationml.tags+xml"/>
  <Override PartName="/ppt/charts/chart412.xml" ContentType="application/vnd.openxmlformats-officedocument.drawingml.chart+xml"/>
  <Override PartName="/ppt/tags/tag440.xml" ContentType="application/vnd.openxmlformats-officedocument.presentationml.tags+xml"/>
  <Override PartName="/ppt/charts/chart413.xml" ContentType="application/vnd.openxmlformats-officedocument.drawingml.chart+xml"/>
  <Override PartName="/ppt/tags/tag441.xml" ContentType="application/vnd.openxmlformats-officedocument.presentationml.tags+xml"/>
  <Override PartName="/ppt/charts/chart414.xml" ContentType="application/vnd.openxmlformats-officedocument.drawingml.chart+xml"/>
  <Override PartName="/ppt/tags/tag442.xml" ContentType="application/vnd.openxmlformats-officedocument.presentationml.tags+xml"/>
  <Override PartName="/ppt/charts/chart415.xml" ContentType="application/vnd.openxmlformats-officedocument.drawingml.chart+xml"/>
  <Override PartName="/ppt/tags/tag443.xml" ContentType="application/vnd.openxmlformats-officedocument.presentationml.tags+xml"/>
  <Override PartName="/ppt/charts/chart416.xml" ContentType="application/vnd.openxmlformats-officedocument.drawingml.chart+xml"/>
  <Override PartName="/ppt/tags/tag444.xml" ContentType="application/vnd.openxmlformats-officedocument.presentationml.tags+xml"/>
  <Override PartName="/ppt/charts/chart417.xml" ContentType="application/vnd.openxmlformats-officedocument.drawingml.chart+xml"/>
  <Override PartName="/ppt/tags/tag445.xml" ContentType="application/vnd.openxmlformats-officedocument.presentationml.tags+xml"/>
  <Override PartName="/ppt/charts/chart418.xml" ContentType="application/vnd.openxmlformats-officedocument.drawingml.chart+xml"/>
  <Override PartName="/ppt/tags/tag446.xml" ContentType="application/vnd.openxmlformats-officedocument.presentationml.tags+xml"/>
  <Override PartName="/ppt/charts/chart419.xml" ContentType="application/vnd.openxmlformats-officedocument.drawingml.chart+xml"/>
  <Override PartName="/ppt/tags/tag447.xml" ContentType="application/vnd.openxmlformats-officedocument.presentationml.tags+xml"/>
  <Override PartName="/ppt/charts/chart420.xml" ContentType="application/vnd.openxmlformats-officedocument.drawingml.chart+xml"/>
  <Override PartName="/ppt/tags/tag448.xml" ContentType="application/vnd.openxmlformats-officedocument.presentationml.tags+xml"/>
  <Override PartName="/ppt/charts/chart421.xml" ContentType="application/vnd.openxmlformats-officedocument.drawingml.chart+xml"/>
  <Override PartName="/ppt/tags/tag449.xml" ContentType="application/vnd.openxmlformats-officedocument.presentationml.tags+xml"/>
  <Override PartName="/ppt/charts/chart422.xml" ContentType="application/vnd.openxmlformats-officedocument.drawingml.chart+xml"/>
  <Override PartName="/ppt/tags/tag450.xml" ContentType="application/vnd.openxmlformats-officedocument.presentationml.tags+xml"/>
  <Override PartName="/ppt/charts/chart423.xml" ContentType="application/vnd.openxmlformats-officedocument.drawingml.chart+xml"/>
  <Override PartName="/ppt/tags/tag451.xml" ContentType="application/vnd.openxmlformats-officedocument.presentationml.tags+xml"/>
  <Override PartName="/ppt/charts/chart424.xml" ContentType="application/vnd.openxmlformats-officedocument.drawingml.chart+xml"/>
  <Override PartName="/ppt/tags/tag452.xml" ContentType="application/vnd.openxmlformats-officedocument.presentationml.tags+xml"/>
  <Override PartName="/ppt/charts/chart425.xml" ContentType="application/vnd.openxmlformats-officedocument.drawingml.chart+xml"/>
  <Override PartName="/ppt/tags/tag453.xml" ContentType="application/vnd.openxmlformats-officedocument.presentationml.tags+xml"/>
  <Override PartName="/ppt/charts/chart426.xml" ContentType="application/vnd.openxmlformats-officedocument.drawingml.chart+xml"/>
  <Override PartName="/ppt/tags/tag454.xml" ContentType="application/vnd.openxmlformats-officedocument.presentationml.tags+xml"/>
  <Override PartName="/ppt/charts/chart427.xml" ContentType="application/vnd.openxmlformats-officedocument.drawingml.chart+xml"/>
  <Override PartName="/ppt/tags/tag455.xml" ContentType="application/vnd.openxmlformats-officedocument.presentationml.tags+xml"/>
  <Override PartName="/ppt/charts/chart428.xml" ContentType="application/vnd.openxmlformats-officedocument.drawingml.chart+xml"/>
  <Override PartName="/ppt/tags/tag456.xml" ContentType="application/vnd.openxmlformats-officedocument.presentationml.tags+xml"/>
  <Override PartName="/ppt/charts/chart429.xml" ContentType="application/vnd.openxmlformats-officedocument.drawingml.chart+xml"/>
  <Override PartName="/ppt/tags/tag457.xml" ContentType="application/vnd.openxmlformats-officedocument.presentationml.tags+xml"/>
  <Override PartName="/ppt/charts/chart430.xml" ContentType="application/vnd.openxmlformats-officedocument.drawingml.chart+xml"/>
  <Override PartName="/ppt/tags/tag458.xml" ContentType="application/vnd.openxmlformats-officedocument.presentationml.tags+xml"/>
  <Override PartName="/ppt/charts/chart431.xml" ContentType="application/vnd.openxmlformats-officedocument.drawingml.chart+xml"/>
  <Override PartName="/ppt/tags/tag459.xml" ContentType="application/vnd.openxmlformats-officedocument.presentationml.tags+xml"/>
  <Override PartName="/ppt/charts/chart432.xml" ContentType="application/vnd.openxmlformats-officedocument.drawingml.chart+xml"/>
  <Override PartName="/ppt/tags/tag460.xml" ContentType="application/vnd.openxmlformats-officedocument.presentationml.tags+xml"/>
  <Override PartName="/ppt/charts/chart433.xml" ContentType="application/vnd.openxmlformats-officedocument.drawingml.chart+xml"/>
  <Override PartName="/ppt/tags/tag461.xml" ContentType="application/vnd.openxmlformats-officedocument.presentationml.tags+xml"/>
  <Override PartName="/ppt/charts/chart434.xml" ContentType="application/vnd.openxmlformats-officedocument.drawingml.chart+xml"/>
  <Override PartName="/ppt/tags/tag462.xml" ContentType="application/vnd.openxmlformats-officedocument.presentationml.tags+xml"/>
  <Override PartName="/ppt/charts/chart435.xml" ContentType="application/vnd.openxmlformats-officedocument.drawingml.chart+xml"/>
  <Override PartName="/ppt/tags/tag463.xml" ContentType="application/vnd.openxmlformats-officedocument.presentationml.tags+xml"/>
  <Override PartName="/ppt/charts/chart436.xml" ContentType="application/vnd.openxmlformats-officedocument.drawingml.chart+xml"/>
  <Override PartName="/ppt/tags/tag464.xml" ContentType="application/vnd.openxmlformats-officedocument.presentationml.tags+xml"/>
  <Override PartName="/ppt/charts/chart437.xml" ContentType="application/vnd.openxmlformats-officedocument.drawingml.chart+xml"/>
  <Override PartName="/ppt/tags/tag465.xml" ContentType="application/vnd.openxmlformats-officedocument.presentationml.tags+xml"/>
  <Override PartName="/ppt/charts/chart438.xml" ContentType="application/vnd.openxmlformats-officedocument.drawingml.chart+xml"/>
  <Override PartName="/ppt/tags/tag466.xml" ContentType="application/vnd.openxmlformats-officedocument.presentationml.tags+xml"/>
  <Override PartName="/ppt/charts/chart439.xml" ContentType="application/vnd.openxmlformats-officedocument.drawingml.chart+xml"/>
  <Override PartName="/ppt/tags/tag467.xml" ContentType="application/vnd.openxmlformats-officedocument.presentationml.tags+xml"/>
  <Override PartName="/ppt/charts/chart440.xml" ContentType="application/vnd.openxmlformats-officedocument.drawingml.chart+xml"/>
  <Override PartName="/ppt/tags/tag468.xml" ContentType="application/vnd.openxmlformats-officedocument.presentationml.tags+xml"/>
  <Override PartName="/ppt/charts/chart441.xml" ContentType="application/vnd.openxmlformats-officedocument.drawingml.chart+xml"/>
  <Override PartName="/ppt/tags/tag469.xml" ContentType="application/vnd.openxmlformats-officedocument.presentationml.tags+xml"/>
  <Override PartName="/ppt/charts/chart442.xml" ContentType="application/vnd.openxmlformats-officedocument.drawingml.chart+xml"/>
  <Override PartName="/ppt/tags/tag470.xml" ContentType="application/vnd.openxmlformats-officedocument.presentationml.tags+xml"/>
  <Override PartName="/ppt/charts/chart443.xml" ContentType="application/vnd.openxmlformats-officedocument.drawingml.chart+xml"/>
  <Override PartName="/ppt/tags/tag471.xml" ContentType="application/vnd.openxmlformats-officedocument.presentationml.tags+xml"/>
  <Override PartName="/ppt/charts/chart444.xml" ContentType="application/vnd.openxmlformats-officedocument.drawingml.chart+xml"/>
  <Override PartName="/ppt/tags/tag472.xml" ContentType="application/vnd.openxmlformats-officedocument.presentationml.tags+xml"/>
  <Override PartName="/ppt/charts/chart445.xml" ContentType="application/vnd.openxmlformats-officedocument.drawingml.chart+xml"/>
  <Override PartName="/ppt/tags/tag473.xml" ContentType="application/vnd.openxmlformats-officedocument.presentationml.tags+xml"/>
  <Override PartName="/ppt/charts/chart446.xml" ContentType="application/vnd.openxmlformats-officedocument.drawingml.chart+xml"/>
  <Override PartName="/ppt/tags/tag474.xml" ContentType="application/vnd.openxmlformats-officedocument.presentationml.tags+xml"/>
  <Override PartName="/ppt/charts/chart447.xml" ContentType="application/vnd.openxmlformats-officedocument.drawingml.chart+xml"/>
  <Override PartName="/ppt/tags/tag475.xml" ContentType="application/vnd.openxmlformats-officedocument.presentationml.tags+xml"/>
  <Override PartName="/ppt/charts/chart448.xml" ContentType="application/vnd.openxmlformats-officedocument.drawingml.chart+xml"/>
  <Override PartName="/ppt/tags/tag476.xml" ContentType="application/vnd.openxmlformats-officedocument.presentationml.tags+xml"/>
  <Override PartName="/ppt/charts/chart449.xml" ContentType="application/vnd.openxmlformats-officedocument.drawingml.chart+xml"/>
  <Override PartName="/ppt/tags/tag477.xml" ContentType="application/vnd.openxmlformats-officedocument.presentationml.tags+xml"/>
  <Override PartName="/ppt/charts/chart450.xml" ContentType="application/vnd.openxmlformats-officedocument.drawingml.chart+xml"/>
  <Override PartName="/ppt/tags/tag478.xml" ContentType="application/vnd.openxmlformats-officedocument.presentationml.tags+xml"/>
  <Override PartName="/ppt/charts/chart451.xml" ContentType="application/vnd.openxmlformats-officedocument.drawingml.chart+xml"/>
  <Override PartName="/ppt/tags/tag479.xml" ContentType="application/vnd.openxmlformats-officedocument.presentationml.tags+xml"/>
  <Override PartName="/ppt/charts/chart452.xml" ContentType="application/vnd.openxmlformats-officedocument.drawingml.chart+xml"/>
  <Override PartName="/ppt/tags/tag480.xml" ContentType="application/vnd.openxmlformats-officedocument.presentationml.tags+xml"/>
  <Override PartName="/ppt/charts/chart453.xml" ContentType="application/vnd.openxmlformats-officedocument.drawingml.chart+xml"/>
  <Override PartName="/ppt/tags/tag481.xml" ContentType="application/vnd.openxmlformats-officedocument.presentationml.tags+xml"/>
  <Override PartName="/ppt/charts/chart454.xml" ContentType="application/vnd.openxmlformats-officedocument.drawingml.chart+xml"/>
  <Override PartName="/ppt/tags/tag482.xml" ContentType="application/vnd.openxmlformats-officedocument.presentationml.tags+xml"/>
  <Override PartName="/ppt/charts/chart455.xml" ContentType="application/vnd.openxmlformats-officedocument.drawingml.chart+xml"/>
  <Override PartName="/ppt/tags/tag483.xml" ContentType="application/vnd.openxmlformats-officedocument.presentationml.tags+xml"/>
  <Override PartName="/ppt/charts/chart456.xml" ContentType="application/vnd.openxmlformats-officedocument.drawingml.chart+xml"/>
  <Override PartName="/ppt/tags/tag484.xml" ContentType="application/vnd.openxmlformats-officedocument.presentationml.tags+xml"/>
  <Override PartName="/ppt/charts/chart457.xml" ContentType="application/vnd.openxmlformats-officedocument.drawingml.chart+xml"/>
  <Override PartName="/ppt/tags/tag485.xml" ContentType="application/vnd.openxmlformats-officedocument.presentationml.tags+xml"/>
  <Override PartName="/ppt/charts/chart458.xml" ContentType="application/vnd.openxmlformats-officedocument.drawingml.chart+xml"/>
  <Override PartName="/ppt/tags/tag486.xml" ContentType="application/vnd.openxmlformats-officedocument.presentationml.tags+xml"/>
  <Override PartName="/ppt/charts/chart459.xml" ContentType="application/vnd.openxmlformats-officedocument.drawingml.chart+xml"/>
  <Override PartName="/ppt/tags/tag487.xml" ContentType="application/vnd.openxmlformats-officedocument.presentationml.tags+xml"/>
  <Override PartName="/ppt/charts/chart460.xml" ContentType="application/vnd.openxmlformats-officedocument.drawingml.chart+xml"/>
  <Override PartName="/ppt/tags/tag488.xml" ContentType="application/vnd.openxmlformats-officedocument.presentationml.tags+xml"/>
  <Override PartName="/ppt/charts/chart461.xml" ContentType="application/vnd.openxmlformats-officedocument.drawingml.chart+xml"/>
  <Override PartName="/ppt/tags/tag489.xml" ContentType="application/vnd.openxmlformats-officedocument.presentationml.tags+xml"/>
  <Override PartName="/ppt/charts/chart462.xml" ContentType="application/vnd.openxmlformats-officedocument.drawingml.chart+xml"/>
  <Override PartName="/ppt/tags/tag490.xml" ContentType="application/vnd.openxmlformats-officedocument.presentationml.tags+xml"/>
  <Override PartName="/ppt/charts/chart463.xml" ContentType="application/vnd.openxmlformats-officedocument.drawingml.chart+xml"/>
  <Override PartName="/ppt/tags/tag491.xml" ContentType="application/vnd.openxmlformats-officedocument.presentationml.tags+xml"/>
  <Override PartName="/ppt/charts/chart464.xml" ContentType="application/vnd.openxmlformats-officedocument.drawingml.chart+xml"/>
  <Override PartName="/ppt/tags/tag492.xml" ContentType="application/vnd.openxmlformats-officedocument.presentationml.tags+xml"/>
  <Override PartName="/ppt/charts/chart465.xml" ContentType="application/vnd.openxmlformats-officedocument.drawingml.chart+xml"/>
  <Override PartName="/ppt/tags/tag493.xml" ContentType="application/vnd.openxmlformats-officedocument.presentationml.tags+xml"/>
  <Override PartName="/ppt/charts/chart466.xml" ContentType="application/vnd.openxmlformats-officedocument.drawingml.chart+xml"/>
  <Override PartName="/ppt/tags/tag494.xml" ContentType="application/vnd.openxmlformats-officedocument.presentationml.tags+xml"/>
  <Override PartName="/ppt/charts/chart467.xml" ContentType="application/vnd.openxmlformats-officedocument.drawingml.chart+xml"/>
  <Override PartName="/ppt/tags/tag495.xml" ContentType="application/vnd.openxmlformats-officedocument.presentationml.tags+xml"/>
  <Override PartName="/ppt/charts/chart468.xml" ContentType="application/vnd.openxmlformats-officedocument.drawingml.chart+xml"/>
  <Override PartName="/ppt/tags/tag496.xml" ContentType="application/vnd.openxmlformats-officedocument.presentationml.tags+xml"/>
  <Override PartName="/ppt/charts/chart469.xml" ContentType="application/vnd.openxmlformats-officedocument.drawingml.chart+xml"/>
  <Override PartName="/ppt/tags/tag497.xml" ContentType="application/vnd.openxmlformats-officedocument.presentationml.tags+xml"/>
  <Override PartName="/ppt/charts/chart470.xml" ContentType="application/vnd.openxmlformats-officedocument.drawingml.chart+xml"/>
  <Override PartName="/ppt/tags/tag498.xml" ContentType="application/vnd.openxmlformats-officedocument.presentationml.tags+xml"/>
  <Override PartName="/ppt/charts/chart471.xml" ContentType="application/vnd.openxmlformats-officedocument.drawingml.chart+xml"/>
  <Override PartName="/ppt/tags/tag499.xml" ContentType="application/vnd.openxmlformats-officedocument.presentationml.tags+xml"/>
  <Override PartName="/ppt/charts/chart472.xml" ContentType="application/vnd.openxmlformats-officedocument.drawingml.chart+xml"/>
  <Override PartName="/ppt/tags/tag500.xml" ContentType="application/vnd.openxmlformats-officedocument.presentationml.tags+xml"/>
  <Override PartName="/ppt/charts/chart473.xml" ContentType="application/vnd.openxmlformats-officedocument.drawingml.chart+xml"/>
  <Override PartName="/ppt/tags/tag501.xml" ContentType="application/vnd.openxmlformats-officedocument.presentationml.tags+xml"/>
  <Override PartName="/ppt/charts/chart474.xml" ContentType="application/vnd.openxmlformats-officedocument.drawingml.chart+xml"/>
  <Override PartName="/ppt/tags/tag502.xml" ContentType="application/vnd.openxmlformats-officedocument.presentationml.tags+xml"/>
  <Override PartName="/ppt/charts/chart475.xml" ContentType="application/vnd.openxmlformats-officedocument.drawingml.chart+xml"/>
  <Override PartName="/ppt/tags/tag503.xml" ContentType="application/vnd.openxmlformats-officedocument.presentationml.tags+xml"/>
  <Override PartName="/ppt/charts/chart476.xml" ContentType="application/vnd.openxmlformats-officedocument.drawingml.chart+xml"/>
  <Override PartName="/ppt/tags/tag504.xml" ContentType="application/vnd.openxmlformats-officedocument.presentationml.tags+xml"/>
  <Override PartName="/ppt/charts/chart477.xml" ContentType="application/vnd.openxmlformats-officedocument.drawingml.chart+xml"/>
  <Override PartName="/ppt/tags/tag505.xml" ContentType="application/vnd.openxmlformats-officedocument.presentationml.tags+xml"/>
  <Override PartName="/ppt/charts/chart478.xml" ContentType="application/vnd.openxmlformats-officedocument.drawingml.chart+xml"/>
  <Override PartName="/ppt/tags/tag506.xml" ContentType="application/vnd.openxmlformats-officedocument.presentationml.tags+xml"/>
  <Override PartName="/ppt/charts/chart479.xml" ContentType="application/vnd.openxmlformats-officedocument.drawingml.chart+xml"/>
  <Override PartName="/ppt/tags/tag507.xml" ContentType="application/vnd.openxmlformats-officedocument.presentationml.tags+xml"/>
  <Override PartName="/ppt/charts/chart480.xml" ContentType="application/vnd.openxmlformats-officedocument.drawingml.chart+xml"/>
  <Override PartName="/ppt/tags/tag508.xml" ContentType="application/vnd.openxmlformats-officedocument.presentationml.tags+xml"/>
  <Override PartName="/ppt/charts/chart481.xml" ContentType="application/vnd.openxmlformats-officedocument.drawingml.chart+xml"/>
  <Override PartName="/ppt/tags/tag509.xml" ContentType="application/vnd.openxmlformats-officedocument.presentationml.tags+xml"/>
  <Override PartName="/ppt/charts/chart482.xml" ContentType="application/vnd.openxmlformats-officedocument.drawingml.chart+xml"/>
  <Override PartName="/ppt/tags/tag510.xml" ContentType="application/vnd.openxmlformats-officedocument.presentationml.tags+xml"/>
  <Override PartName="/ppt/charts/chart483.xml" ContentType="application/vnd.openxmlformats-officedocument.drawingml.chart+xml"/>
  <Override PartName="/ppt/tags/tag511.xml" ContentType="application/vnd.openxmlformats-officedocument.presentationml.tags+xml"/>
  <Override PartName="/ppt/charts/chart484.xml" ContentType="application/vnd.openxmlformats-officedocument.drawingml.chart+xml"/>
  <Override PartName="/ppt/tags/tag512.xml" ContentType="application/vnd.openxmlformats-officedocument.presentationml.tags+xml"/>
  <Override PartName="/ppt/charts/chart485.xml" ContentType="application/vnd.openxmlformats-officedocument.drawingml.chart+xml"/>
  <Override PartName="/ppt/tags/tag513.xml" ContentType="application/vnd.openxmlformats-officedocument.presentationml.tags+xml"/>
  <Override PartName="/ppt/charts/chart486.xml" ContentType="application/vnd.openxmlformats-officedocument.drawingml.chart+xml"/>
  <Override PartName="/ppt/tags/tag514.xml" ContentType="application/vnd.openxmlformats-officedocument.presentationml.tags+xml"/>
  <Override PartName="/ppt/charts/chart487.xml" ContentType="application/vnd.openxmlformats-officedocument.drawingml.chart+xml"/>
  <Override PartName="/ppt/tags/tag515.xml" ContentType="application/vnd.openxmlformats-officedocument.presentationml.tags+xml"/>
  <Override PartName="/ppt/charts/chart488.xml" ContentType="application/vnd.openxmlformats-officedocument.drawingml.chart+xml"/>
  <Override PartName="/ppt/tags/tag516.xml" ContentType="application/vnd.openxmlformats-officedocument.presentationml.tags+xml"/>
  <Override PartName="/ppt/charts/chart489.xml" ContentType="application/vnd.openxmlformats-officedocument.drawingml.chart+xml"/>
  <Override PartName="/ppt/tags/tag517.xml" ContentType="application/vnd.openxmlformats-officedocument.presentationml.tags+xml"/>
  <Override PartName="/ppt/charts/chart490.xml" ContentType="application/vnd.openxmlformats-officedocument.drawingml.chart+xml"/>
  <Override PartName="/ppt/tags/tag518.xml" ContentType="application/vnd.openxmlformats-officedocument.presentationml.tags+xml"/>
  <Override PartName="/ppt/charts/chart491.xml" ContentType="application/vnd.openxmlformats-officedocument.drawingml.chart+xml"/>
  <Override PartName="/ppt/tags/tag519.xml" ContentType="application/vnd.openxmlformats-officedocument.presentationml.tags+xml"/>
  <Override PartName="/ppt/charts/chart492.xml" ContentType="application/vnd.openxmlformats-officedocument.drawingml.chart+xml"/>
  <Override PartName="/ppt/tags/tag520.xml" ContentType="application/vnd.openxmlformats-officedocument.presentationml.tags+xml"/>
  <Override PartName="/ppt/charts/chart493.xml" ContentType="application/vnd.openxmlformats-officedocument.drawingml.chart+xml"/>
  <Override PartName="/ppt/tags/tag521.xml" ContentType="application/vnd.openxmlformats-officedocument.presentationml.tags+xml"/>
  <Override PartName="/ppt/charts/chart494.xml" ContentType="application/vnd.openxmlformats-officedocument.drawingml.chart+xml"/>
  <Override PartName="/ppt/tags/tag522.xml" ContentType="application/vnd.openxmlformats-officedocument.presentationml.tags+xml"/>
  <Override PartName="/ppt/charts/chart495.xml" ContentType="application/vnd.openxmlformats-officedocument.drawingml.chart+xml"/>
  <Override PartName="/ppt/tags/tag523.xml" ContentType="application/vnd.openxmlformats-officedocument.presentationml.tags+xml"/>
  <Override PartName="/ppt/charts/chart496.xml" ContentType="application/vnd.openxmlformats-officedocument.drawingml.chart+xml"/>
  <Override PartName="/ppt/tags/tag524.xml" ContentType="application/vnd.openxmlformats-officedocument.presentationml.tags+xml"/>
  <Override PartName="/ppt/charts/chart497.xml" ContentType="application/vnd.openxmlformats-officedocument.drawingml.chart+xml"/>
  <Override PartName="/ppt/tags/tag525.xml" ContentType="application/vnd.openxmlformats-officedocument.presentationml.tags+xml"/>
  <Override PartName="/ppt/charts/chart498.xml" ContentType="application/vnd.openxmlformats-officedocument.drawingml.chart+xml"/>
  <Override PartName="/ppt/tags/tag526.xml" ContentType="application/vnd.openxmlformats-officedocument.presentationml.tags+xml"/>
  <Override PartName="/ppt/charts/chart499.xml" ContentType="application/vnd.openxmlformats-officedocument.drawingml.chart+xml"/>
  <Override PartName="/ppt/tags/tag527.xml" ContentType="application/vnd.openxmlformats-officedocument.presentationml.tags+xml"/>
  <Override PartName="/ppt/charts/chart500.xml" ContentType="application/vnd.openxmlformats-officedocument.drawingml.chart+xml"/>
  <Override PartName="/ppt/tags/tag528.xml" ContentType="application/vnd.openxmlformats-officedocument.presentationml.tags+xml"/>
  <Override PartName="/ppt/charts/chart501.xml" ContentType="application/vnd.openxmlformats-officedocument.drawingml.chart+xml"/>
  <Override PartName="/ppt/tags/tag529.xml" ContentType="application/vnd.openxmlformats-officedocument.presentationml.tags+xml"/>
  <Override PartName="/ppt/charts/chart502.xml" ContentType="application/vnd.openxmlformats-officedocument.drawingml.chart+xml"/>
  <Override PartName="/ppt/tags/tag530.xml" ContentType="application/vnd.openxmlformats-officedocument.presentationml.tags+xml"/>
  <Override PartName="/ppt/charts/chart503.xml" ContentType="application/vnd.openxmlformats-officedocument.drawingml.chart+xml"/>
  <Override PartName="/ppt/tags/tag531.xml" ContentType="application/vnd.openxmlformats-officedocument.presentationml.tags+xml"/>
  <Override PartName="/ppt/charts/chart504.xml" ContentType="application/vnd.openxmlformats-officedocument.drawingml.chart+xml"/>
  <Override PartName="/ppt/tags/tag532.xml" ContentType="application/vnd.openxmlformats-officedocument.presentationml.tags+xml"/>
  <Override PartName="/ppt/charts/chart505.xml" ContentType="application/vnd.openxmlformats-officedocument.drawingml.chart+xml"/>
  <Override PartName="/ppt/tags/tag533.xml" ContentType="application/vnd.openxmlformats-officedocument.presentationml.tags+xml"/>
  <Override PartName="/ppt/charts/chart506.xml" ContentType="application/vnd.openxmlformats-officedocument.drawingml.chart+xml"/>
  <Override PartName="/ppt/tags/tag534.xml" ContentType="application/vnd.openxmlformats-officedocument.presentationml.tags+xml"/>
  <Override PartName="/ppt/charts/chart507.xml" ContentType="application/vnd.openxmlformats-officedocument.drawingml.chart+xml"/>
  <Override PartName="/ppt/tags/tag535.xml" ContentType="application/vnd.openxmlformats-officedocument.presentationml.tags+xml"/>
  <Override PartName="/ppt/charts/chart508.xml" ContentType="application/vnd.openxmlformats-officedocument.drawingml.chart+xml"/>
  <Override PartName="/ppt/tags/tag536.xml" ContentType="application/vnd.openxmlformats-officedocument.presentationml.tags+xml"/>
  <Override PartName="/ppt/charts/chart509.xml" ContentType="application/vnd.openxmlformats-officedocument.drawingml.chart+xml"/>
  <Override PartName="/ppt/tags/tag537.xml" ContentType="application/vnd.openxmlformats-officedocument.presentationml.tags+xml"/>
  <Override PartName="/ppt/charts/chart510.xml" ContentType="application/vnd.openxmlformats-officedocument.drawingml.chart+xml"/>
  <Override PartName="/ppt/tags/tag538.xml" ContentType="application/vnd.openxmlformats-officedocument.presentationml.tags+xml"/>
  <Override PartName="/ppt/charts/chart511.xml" ContentType="application/vnd.openxmlformats-officedocument.drawingml.chart+xml"/>
  <Override PartName="/ppt/tags/tag539.xml" ContentType="application/vnd.openxmlformats-officedocument.presentationml.tags+xml"/>
  <Override PartName="/ppt/charts/chart512.xml" ContentType="application/vnd.openxmlformats-officedocument.drawingml.chart+xml"/>
  <Override PartName="/ppt/tags/tag540.xml" ContentType="application/vnd.openxmlformats-officedocument.presentationml.tags+xml"/>
  <Override PartName="/ppt/charts/chart513.xml" ContentType="application/vnd.openxmlformats-officedocument.drawingml.chart+xml"/>
  <Override PartName="/ppt/tags/tag541.xml" ContentType="application/vnd.openxmlformats-officedocument.presentationml.tags+xml"/>
  <Override PartName="/ppt/charts/chart514.xml" ContentType="application/vnd.openxmlformats-officedocument.drawingml.chart+xml"/>
  <Override PartName="/ppt/tags/tag542.xml" ContentType="application/vnd.openxmlformats-officedocument.presentationml.tags+xml"/>
  <Override PartName="/ppt/charts/chart515.xml" ContentType="application/vnd.openxmlformats-officedocument.drawingml.chart+xml"/>
  <Override PartName="/ppt/tags/tag543.xml" ContentType="application/vnd.openxmlformats-officedocument.presentationml.tags+xml"/>
  <Override PartName="/ppt/charts/chart516.xml" ContentType="application/vnd.openxmlformats-officedocument.drawingml.chart+xml"/>
  <Override PartName="/ppt/tags/tag544.xml" ContentType="application/vnd.openxmlformats-officedocument.presentationml.tags+xml"/>
  <Override PartName="/ppt/charts/chart517.xml" ContentType="application/vnd.openxmlformats-officedocument.drawingml.chart+xml"/>
  <Override PartName="/ppt/tags/tag545.xml" ContentType="application/vnd.openxmlformats-officedocument.presentationml.tags+xml"/>
  <Override PartName="/ppt/charts/chart518.xml" ContentType="application/vnd.openxmlformats-officedocument.drawingml.chart+xml"/>
  <Override PartName="/ppt/tags/tag546.xml" ContentType="application/vnd.openxmlformats-officedocument.presentationml.tags+xml"/>
  <Override PartName="/ppt/charts/chart519.xml" ContentType="application/vnd.openxmlformats-officedocument.drawingml.chart+xml"/>
  <Override PartName="/ppt/tags/tag547.xml" ContentType="application/vnd.openxmlformats-officedocument.presentationml.tags+xml"/>
  <Override PartName="/ppt/charts/chart520.xml" ContentType="application/vnd.openxmlformats-officedocument.drawingml.chart+xml"/>
  <Override PartName="/ppt/tags/tag548.xml" ContentType="application/vnd.openxmlformats-officedocument.presentationml.tags+xml"/>
  <Override PartName="/ppt/charts/chart521.xml" ContentType="application/vnd.openxmlformats-officedocument.drawingml.chart+xml"/>
  <Override PartName="/ppt/tags/tag549.xml" ContentType="application/vnd.openxmlformats-officedocument.presentationml.tags+xml"/>
  <Override PartName="/ppt/charts/chart522.xml" ContentType="application/vnd.openxmlformats-officedocument.drawingml.chart+xml"/>
  <Override PartName="/ppt/tags/tag550.xml" ContentType="application/vnd.openxmlformats-officedocument.presentationml.tags+xml"/>
  <Override PartName="/ppt/charts/chart523.xml" ContentType="application/vnd.openxmlformats-officedocument.drawingml.chart+xml"/>
  <Override PartName="/ppt/tags/tag551.xml" ContentType="application/vnd.openxmlformats-officedocument.presentationml.tags+xml"/>
  <Override PartName="/ppt/charts/chart524.xml" ContentType="application/vnd.openxmlformats-officedocument.drawingml.chart+xml"/>
  <Override PartName="/ppt/tags/tag552.xml" ContentType="application/vnd.openxmlformats-officedocument.presentationml.tags+xml"/>
  <Override PartName="/ppt/charts/chart525.xml" ContentType="application/vnd.openxmlformats-officedocument.drawingml.chart+xml"/>
  <Override PartName="/ppt/tags/tag553.xml" ContentType="application/vnd.openxmlformats-officedocument.presentationml.tags+xml"/>
  <Override PartName="/ppt/charts/chart526.xml" ContentType="application/vnd.openxmlformats-officedocument.drawingml.chart+xml"/>
  <Override PartName="/ppt/tags/tag554.xml" ContentType="application/vnd.openxmlformats-officedocument.presentationml.tags+xml"/>
  <Override PartName="/ppt/charts/chart527.xml" ContentType="application/vnd.openxmlformats-officedocument.drawingml.chart+xml"/>
  <Override PartName="/ppt/tags/tag555.xml" ContentType="application/vnd.openxmlformats-officedocument.presentationml.tags+xml"/>
  <Override PartName="/ppt/charts/chart528.xml" ContentType="application/vnd.openxmlformats-officedocument.drawingml.chart+xml"/>
  <Override PartName="/ppt/tags/tag556.xml" ContentType="application/vnd.openxmlformats-officedocument.presentationml.tags+xml"/>
  <Override PartName="/ppt/charts/chart529.xml" ContentType="application/vnd.openxmlformats-officedocument.drawingml.chart+xml"/>
  <Override PartName="/ppt/tags/tag557.xml" ContentType="application/vnd.openxmlformats-officedocument.presentationml.tags+xml"/>
  <Override PartName="/ppt/charts/chart530.xml" ContentType="application/vnd.openxmlformats-officedocument.drawingml.chart+xml"/>
  <Override PartName="/ppt/tags/tag558.xml" ContentType="application/vnd.openxmlformats-officedocument.presentationml.tags+xml"/>
  <Override PartName="/ppt/charts/chart531.xml" ContentType="application/vnd.openxmlformats-officedocument.drawingml.chart+xml"/>
  <Override PartName="/ppt/tags/tag559.xml" ContentType="application/vnd.openxmlformats-officedocument.presentationml.tags+xml"/>
  <Override PartName="/ppt/charts/chart532.xml" ContentType="application/vnd.openxmlformats-officedocument.drawingml.chart+xml"/>
  <Override PartName="/ppt/tags/tag560.xml" ContentType="application/vnd.openxmlformats-officedocument.presentationml.tags+xml"/>
  <Override PartName="/ppt/charts/chart533.xml" ContentType="application/vnd.openxmlformats-officedocument.drawingml.chart+xml"/>
  <Override PartName="/ppt/tags/tag561.xml" ContentType="application/vnd.openxmlformats-officedocument.presentationml.tags+xml"/>
  <Override PartName="/ppt/charts/chart534.xml" ContentType="application/vnd.openxmlformats-officedocument.drawingml.chart+xml"/>
  <Override PartName="/ppt/tags/tag562.xml" ContentType="application/vnd.openxmlformats-officedocument.presentationml.tags+xml"/>
  <Override PartName="/ppt/charts/chart535.xml" ContentType="application/vnd.openxmlformats-officedocument.drawingml.chart+xml"/>
  <Override PartName="/ppt/tags/tag563.xml" ContentType="application/vnd.openxmlformats-officedocument.presentationml.tags+xml"/>
  <Override PartName="/ppt/charts/chart536.xml" ContentType="application/vnd.openxmlformats-officedocument.drawingml.chart+xml"/>
  <Override PartName="/ppt/tags/tag564.xml" ContentType="application/vnd.openxmlformats-officedocument.presentationml.tags+xml"/>
  <Override PartName="/ppt/charts/chart537.xml" ContentType="application/vnd.openxmlformats-officedocument.drawingml.chart+xml"/>
  <Override PartName="/ppt/tags/tag565.xml" ContentType="application/vnd.openxmlformats-officedocument.presentationml.tags+xml"/>
  <Override PartName="/ppt/charts/chart538.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543"/>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 id="2147477443" r:id="rId83"/>
    <p:sldId id="2147477444" r:id="rId84"/>
    <p:sldId id="2147477445" r:id="rId85"/>
    <p:sldId id="2147477446" r:id="rId86"/>
    <p:sldId id="2147477447" r:id="rId87"/>
    <p:sldId id="2147477448" r:id="rId88"/>
    <p:sldId id="2147477449" r:id="rId89"/>
    <p:sldId id="2147477450" r:id="rId90"/>
    <p:sldId id="2147477451" r:id="rId91"/>
    <p:sldId id="2147477452" r:id="rId92"/>
    <p:sldId id="2147477453" r:id="rId93"/>
    <p:sldId id="2147477454" r:id="rId94"/>
    <p:sldId id="2147477455" r:id="rId95"/>
    <p:sldId id="2147477456" r:id="rId96"/>
    <p:sldId id="2147477457" r:id="rId97"/>
    <p:sldId id="2147477458" r:id="rId98"/>
    <p:sldId id="2147477459" r:id="rId99"/>
    <p:sldId id="2147477460" r:id="rId100"/>
    <p:sldId id="2147477461" r:id="rId101"/>
    <p:sldId id="2147477462" r:id="rId102"/>
    <p:sldId id="2147477463" r:id="rId103"/>
    <p:sldId id="2147477464" r:id="rId104"/>
    <p:sldId id="2147477465" r:id="rId105"/>
    <p:sldId id="2147477466" r:id="rId106"/>
    <p:sldId id="2147477467" r:id="rId107"/>
    <p:sldId id="2147477468" r:id="rId108"/>
    <p:sldId id="2147477469" r:id="rId109"/>
    <p:sldId id="2147477470" r:id="rId110"/>
    <p:sldId id="2147477471" r:id="rId111"/>
    <p:sldId id="2147477472" r:id="rId112"/>
    <p:sldId id="2147477473" r:id="rId113"/>
    <p:sldId id="2147477474" r:id="rId114"/>
    <p:sldId id="2147477475" r:id="rId115"/>
    <p:sldId id="2147477476" r:id="rId116"/>
    <p:sldId id="2147477477" r:id="rId117"/>
    <p:sldId id="2147477478" r:id="rId118"/>
    <p:sldId id="2147477479" r:id="rId119"/>
    <p:sldId id="2147477480" r:id="rId120"/>
    <p:sldId id="2147477481" r:id="rId121"/>
    <p:sldId id="2147477482" r:id="rId122"/>
    <p:sldId id="2147477483" r:id="rId123"/>
    <p:sldId id="2147477484" r:id="rId124"/>
    <p:sldId id="2147477485" r:id="rId125"/>
    <p:sldId id="2147477486" r:id="rId126"/>
    <p:sldId id="2147477487" r:id="rId127"/>
    <p:sldId id="2147477488" r:id="rId128"/>
    <p:sldId id="2147477489" r:id="rId129"/>
    <p:sldId id="2147477490" r:id="rId130"/>
    <p:sldId id="2147477491" r:id="rId131"/>
    <p:sldId id="2147477492" r:id="rId132"/>
    <p:sldId id="2147477493" r:id="rId133"/>
    <p:sldId id="2147477494" r:id="rId134"/>
    <p:sldId id="2147477495" r:id="rId135"/>
    <p:sldId id="2147477496" r:id="rId136"/>
    <p:sldId id="2147477497" r:id="rId137"/>
    <p:sldId id="2147477498" r:id="rId138"/>
    <p:sldId id="2147477499" r:id="rId139"/>
    <p:sldId id="2147477500" r:id="rId140"/>
    <p:sldId id="2147477501" r:id="rId141"/>
    <p:sldId id="2147477502" r:id="rId142"/>
    <p:sldId id="2147477503" r:id="rId143"/>
    <p:sldId id="2147477504" r:id="rId144"/>
    <p:sldId id="2147477505" r:id="rId145"/>
    <p:sldId id="2147477506" r:id="rId146"/>
    <p:sldId id="2147477507" r:id="rId147"/>
    <p:sldId id="2147477508" r:id="rId148"/>
    <p:sldId id="2147477509" r:id="rId149"/>
    <p:sldId id="2147477510" r:id="rId150"/>
    <p:sldId id="2147477511" r:id="rId151"/>
    <p:sldId id="2147477512" r:id="rId152"/>
    <p:sldId id="2147477513" r:id="rId153"/>
    <p:sldId id="2147477514" r:id="rId154"/>
    <p:sldId id="2147477515" r:id="rId155"/>
    <p:sldId id="2147477516" r:id="rId156"/>
    <p:sldId id="2147477517" r:id="rId157"/>
    <p:sldId id="2147477518" r:id="rId158"/>
    <p:sldId id="2147477519" r:id="rId159"/>
    <p:sldId id="2147477520" r:id="rId160"/>
    <p:sldId id="2147477521" r:id="rId161"/>
    <p:sldId id="2147477522" r:id="rId162"/>
    <p:sldId id="2147477523" r:id="rId163"/>
    <p:sldId id="2147477524" r:id="rId164"/>
    <p:sldId id="2147477525" r:id="rId165"/>
    <p:sldId id="2147477526" r:id="rId166"/>
    <p:sldId id="2147477527" r:id="rId167"/>
    <p:sldId id="2147477528" r:id="rId168"/>
    <p:sldId id="2147477529" r:id="rId169"/>
    <p:sldId id="2147477530" r:id="rId170"/>
    <p:sldId id="2147477531" r:id="rId171"/>
    <p:sldId id="2147477532" r:id="rId172"/>
    <p:sldId id="2147477533" r:id="rId173"/>
    <p:sldId id="2147477534" r:id="rId174"/>
    <p:sldId id="2147477535" r:id="rId175"/>
    <p:sldId id="2147477536" r:id="rId176"/>
    <p:sldId id="2147477537" r:id="rId177"/>
    <p:sldId id="2147477538" r:id="rId178"/>
    <p:sldId id="2147477539" r:id="rId179"/>
    <p:sldId id="2147477540" r:id="rId180"/>
    <p:sldId id="2147477541" r:id="rId181"/>
    <p:sldId id="2147477542" r:id="rId182"/>
    <p:sldId id="2147477543" r:id="rId183"/>
    <p:sldId id="2147477544" r:id="rId184"/>
    <p:sldId id="2147477545" r:id="rId185"/>
    <p:sldId id="2147477546" r:id="rId186"/>
    <p:sldId id="2147477547" r:id="rId187"/>
    <p:sldId id="2147477548" r:id="rId188"/>
    <p:sldId id="2147477549" r:id="rId189"/>
    <p:sldId id="2147477550" r:id="rId190"/>
    <p:sldId id="2147477551" r:id="rId191"/>
    <p:sldId id="2147477552" r:id="rId192"/>
    <p:sldId id="2147477553" r:id="rId193"/>
    <p:sldId id="2147477554" r:id="rId194"/>
    <p:sldId id="2147477555" r:id="rId195"/>
    <p:sldId id="2147477556" r:id="rId196"/>
    <p:sldId id="2147477557" r:id="rId197"/>
    <p:sldId id="2147477558" r:id="rId198"/>
    <p:sldId id="2147477559" r:id="rId199"/>
    <p:sldId id="2147477560" r:id="rId200"/>
    <p:sldId id="2147477561" r:id="rId201"/>
    <p:sldId id="2147477562" r:id="rId202"/>
    <p:sldId id="2147477563" r:id="rId203"/>
    <p:sldId id="2147477564" r:id="rId204"/>
    <p:sldId id="2147477565" r:id="rId205"/>
    <p:sldId id="2147477566" r:id="rId206"/>
    <p:sldId id="2147477567" r:id="rId207"/>
    <p:sldId id="2147477568" r:id="rId208"/>
    <p:sldId id="2147477569" r:id="rId209"/>
    <p:sldId id="2147477570" r:id="rId210"/>
    <p:sldId id="2147477571" r:id="rId211"/>
    <p:sldId id="2147477572" r:id="rId212"/>
    <p:sldId id="2147477573" r:id="rId213"/>
    <p:sldId id="2147477574" r:id="rId214"/>
    <p:sldId id="2147477575" r:id="rId215"/>
    <p:sldId id="2147477576" r:id="rId216"/>
    <p:sldId id="2147477577" r:id="rId217"/>
    <p:sldId id="2147477578" r:id="rId218"/>
    <p:sldId id="2147477579" r:id="rId219"/>
    <p:sldId id="2147477580" r:id="rId220"/>
    <p:sldId id="2147477581" r:id="rId221"/>
    <p:sldId id="2147477582" r:id="rId222"/>
    <p:sldId id="2147477583" r:id="rId223"/>
    <p:sldId id="2147477584" r:id="rId224"/>
    <p:sldId id="2147477585" r:id="rId225"/>
    <p:sldId id="2147477586" r:id="rId226"/>
    <p:sldId id="2147477587" r:id="rId227"/>
    <p:sldId id="2147477588" r:id="rId228"/>
    <p:sldId id="2147477589" r:id="rId229"/>
    <p:sldId id="2147477590" r:id="rId230"/>
    <p:sldId id="2147477591" r:id="rId231"/>
    <p:sldId id="2147477592" r:id="rId232"/>
    <p:sldId id="2147477593" r:id="rId233"/>
    <p:sldId id="2147477594" r:id="rId234"/>
    <p:sldId id="2147477595" r:id="rId235"/>
    <p:sldId id="2147477596" r:id="rId236"/>
    <p:sldId id="2147477597" r:id="rId237"/>
    <p:sldId id="2147477598" r:id="rId238"/>
    <p:sldId id="2147477599" r:id="rId239"/>
    <p:sldId id="2147477600" r:id="rId240"/>
    <p:sldId id="2147477601" r:id="rId241"/>
    <p:sldId id="2147477602" r:id="rId242"/>
    <p:sldId id="2147477603" r:id="rId243"/>
    <p:sldId id="2147477604" r:id="rId244"/>
    <p:sldId id="2147477605" r:id="rId245"/>
    <p:sldId id="2147477606" r:id="rId246"/>
    <p:sldId id="2147477607" r:id="rId247"/>
    <p:sldId id="2147477608" r:id="rId248"/>
    <p:sldId id="2147477609" r:id="rId249"/>
    <p:sldId id="2147477610" r:id="rId250"/>
    <p:sldId id="2147477611" r:id="rId251"/>
    <p:sldId id="2147477612" r:id="rId252"/>
    <p:sldId id="2147477613" r:id="rId253"/>
    <p:sldId id="2147477614" r:id="rId254"/>
    <p:sldId id="2147477615" r:id="rId255"/>
    <p:sldId id="2147477616" r:id="rId256"/>
    <p:sldId id="2147477617" r:id="rId257"/>
    <p:sldId id="2147477618" r:id="rId258"/>
    <p:sldId id="2147477619" r:id="rId259"/>
    <p:sldId id="2147477620" r:id="rId260"/>
    <p:sldId id="2147477621" r:id="rId261"/>
    <p:sldId id="2147477622" r:id="rId262"/>
    <p:sldId id="2147477623" r:id="rId263"/>
    <p:sldId id="2147477624" r:id="rId264"/>
    <p:sldId id="2147477625" r:id="rId265"/>
    <p:sldId id="2147477626" r:id="rId266"/>
    <p:sldId id="2147477627" r:id="rId267"/>
    <p:sldId id="2147477628" r:id="rId268"/>
    <p:sldId id="2147477629" r:id="rId269"/>
    <p:sldId id="2147477630" r:id="rId270"/>
    <p:sldId id="2147477631" r:id="rId271"/>
    <p:sldId id="2147477632" r:id="rId272"/>
    <p:sldId id="2147477633" r:id="rId273"/>
    <p:sldId id="2147477634" r:id="rId274"/>
    <p:sldId id="2147477635" r:id="rId275"/>
    <p:sldId id="2147477636" r:id="rId276"/>
    <p:sldId id="2147477637" r:id="rId277"/>
    <p:sldId id="2147477638" r:id="rId278"/>
    <p:sldId id="2147477639" r:id="rId279"/>
    <p:sldId id="2147477640" r:id="rId280"/>
    <p:sldId id="2147477641" r:id="rId281"/>
    <p:sldId id="2147477642" r:id="rId282"/>
    <p:sldId id="2147477643" r:id="rId283"/>
    <p:sldId id="2147477644" r:id="rId284"/>
    <p:sldId id="2147477645" r:id="rId285"/>
    <p:sldId id="2147477646" r:id="rId286"/>
    <p:sldId id="2147477647" r:id="rId287"/>
    <p:sldId id="2147477648" r:id="rId288"/>
    <p:sldId id="2147477649" r:id="rId289"/>
    <p:sldId id="2147477650" r:id="rId290"/>
    <p:sldId id="2147477651" r:id="rId291"/>
    <p:sldId id="2147477652" r:id="rId292"/>
    <p:sldId id="2147477653" r:id="rId293"/>
    <p:sldId id="2147477654" r:id="rId294"/>
    <p:sldId id="2147477655" r:id="rId295"/>
    <p:sldId id="2147477656" r:id="rId296"/>
    <p:sldId id="2147477657" r:id="rId297"/>
    <p:sldId id="2147477658" r:id="rId298"/>
    <p:sldId id="2147477659" r:id="rId299"/>
    <p:sldId id="2147477660" r:id="rId300"/>
    <p:sldId id="2147477661" r:id="rId301"/>
    <p:sldId id="2147477662" r:id="rId302"/>
    <p:sldId id="2147477663" r:id="rId303"/>
    <p:sldId id="2147477664" r:id="rId304"/>
    <p:sldId id="2147477665" r:id="rId305"/>
    <p:sldId id="2147477666" r:id="rId306"/>
    <p:sldId id="2147477667" r:id="rId307"/>
    <p:sldId id="2147477668" r:id="rId308"/>
    <p:sldId id="2147477669" r:id="rId309"/>
    <p:sldId id="2147477670" r:id="rId310"/>
    <p:sldId id="2147477671" r:id="rId311"/>
    <p:sldId id="2147477672" r:id="rId312"/>
    <p:sldId id="2147477673" r:id="rId313"/>
    <p:sldId id="2147477674" r:id="rId314"/>
    <p:sldId id="2147477675" r:id="rId315"/>
    <p:sldId id="2147477676" r:id="rId316"/>
    <p:sldId id="2147477677" r:id="rId317"/>
    <p:sldId id="2147477678" r:id="rId318"/>
    <p:sldId id="2147477679" r:id="rId319"/>
    <p:sldId id="2147477680" r:id="rId320"/>
    <p:sldId id="2147477681" r:id="rId321"/>
    <p:sldId id="2147477682" r:id="rId322"/>
    <p:sldId id="2147477683" r:id="rId323"/>
    <p:sldId id="2147477684" r:id="rId324"/>
    <p:sldId id="2147477685" r:id="rId325"/>
    <p:sldId id="2147477686" r:id="rId326"/>
    <p:sldId id="2147477687" r:id="rId327"/>
    <p:sldId id="2147477688" r:id="rId328"/>
    <p:sldId id="2147477689" r:id="rId329"/>
    <p:sldId id="2147477690" r:id="rId330"/>
    <p:sldId id="2147477691" r:id="rId331"/>
    <p:sldId id="2147477692" r:id="rId332"/>
    <p:sldId id="2147477693" r:id="rId333"/>
    <p:sldId id="2147477694" r:id="rId334"/>
    <p:sldId id="2147477695" r:id="rId335"/>
    <p:sldId id="2147477696" r:id="rId336"/>
    <p:sldId id="2147477697" r:id="rId337"/>
    <p:sldId id="2147477698" r:id="rId338"/>
    <p:sldId id="2147477699" r:id="rId339"/>
    <p:sldId id="2147477700" r:id="rId340"/>
    <p:sldId id="2147477701" r:id="rId341"/>
    <p:sldId id="2147477702" r:id="rId342"/>
    <p:sldId id="2147477703" r:id="rId343"/>
    <p:sldId id="2147477704" r:id="rId344"/>
    <p:sldId id="2147477705" r:id="rId345"/>
    <p:sldId id="2147477706" r:id="rId346"/>
    <p:sldId id="2147477707" r:id="rId347"/>
    <p:sldId id="2147477708" r:id="rId348"/>
    <p:sldId id="2147477709" r:id="rId349"/>
    <p:sldId id="2147477710" r:id="rId350"/>
    <p:sldId id="2147477711" r:id="rId351"/>
    <p:sldId id="2147477712" r:id="rId352"/>
    <p:sldId id="2147477713" r:id="rId353"/>
    <p:sldId id="2147477714" r:id="rId354"/>
    <p:sldId id="2147477715" r:id="rId355"/>
    <p:sldId id="2147477716" r:id="rId356"/>
    <p:sldId id="2147477717" r:id="rId357"/>
    <p:sldId id="2147477718" r:id="rId358"/>
    <p:sldId id="2147477719" r:id="rId359"/>
    <p:sldId id="2147477720" r:id="rId360"/>
    <p:sldId id="2147477721" r:id="rId361"/>
    <p:sldId id="2147477722" r:id="rId362"/>
    <p:sldId id="2147477723" r:id="rId363"/>
    <p:sldId id="2147477724" r:id="rId364"/>
    <p:sldId id="2147477725" r:id="rId365"/>
    <p:sldId id="2147477726" r:id="rId366"/>
    <p:sldId id="2147477727" r:id="rId367"/>
    <p:sldId id="2147477728" r:id="rId368"/>
    <p:sldId id="2147477729" r:id="rId369"/>
    <p:sldId id="2147477730" r:id="rId370"/>
    <p:sldId id="2147477731" r:id="rId371"/>
    <p:sldId id="2147477732" r:id="rId372"/>
    <p:sldId id="2147477733" r:id="rId373"/>
    <p:sldId id="2147477734" r:id="rId374"/>
    <p:sldId id="2147477735" r:id="rId375"/>
    <p:sldId id="2147477736" r:id="rId376"/>
    <p:sldId id="2147477737" r:id="rId377"/>
    <p:sldId id="2147477738" r:id="rId378"/>
    <p:sldId id="2147477739" r:id="rId379"/>
    <p:sldId id="2147477740" r:id="rId380"/>
    <p:sldId id="2147477741" r:id="rId381"/>
    <p:sldId id="2147477742" r:id="rId382"/>
    <p:sldId id="2147477743" r:id="rId383"/>
    <p:sldId id="2147477744" r:id="rId384"/>
    <p:sldId id="2147477745" r:id="rId385"/>
    <p:sldId id="2147477746" r:id="rId386"/>
    <p:sldId id="2147477747" r:id="rId387"/>
    <p:sldId id="2147477748" r:id="rId388"/>
    <p:sldId id="2147477749" r:id="rId389"/>
    <p:sldId id="2147477750" r:id="rId390"/>
    <p:sldId id="2147477751" r:id="rId391"/>
    <p:sldId id="2147477752" r:id="rId392"/>
    <p:sldId id="2147477753" r:id="rId393"/>
    <p:sldId id="2147477754" r:id="rId394"/>
    <p:sldId id="2147477755" r:id="rId395"/>
    <p:sldId id="2147477756" r:id="rId396"/>
    <p:sldId id="2147477757" r:id="rId397"/>
    <p:sldId id="2147477758" r:id="rId398"/>
    <p:sldId id="2147477759" r:id="rId399"/>
    <p:sldId id="2147477760" r:id="rId400"/>
    <p:sldId id="2147477761" r:id="rId401"/>
    <p:sldId id="2147477762" r:id="rId402"/>
    <p:sldId id="2147477763" r:id="rId403"/>
    <p:sldId id="2147477764" r:id="rId404"/>
    <p:sldId id="2147477765" r:id="rId405"/>
    <p:sldId id="2147477766" r:id="rId406"/>
    <p:sldId id="2147477767" r:id="rId407"/>
    <p:sldId id="2147477768" r:id="rId408"/>
    <p:sldId id="2147477769" r:id="rId409"/>
    <p:sldId id="2147477770" r:id="rId410"/>
    <p:sldId id="2147477771" r:id="rId411"/>
    <p:sldId id="2147477772" r:id="rId412"/>
    <p:sldId id="2147477773" r:id="rId413"/>
    <p:sldId id="2147477774" r:id="rId414"/>
    <p:sldId id="2147477775" r:id="rId415"/>
    <p:sldId id="2147477776" r:id="rId416"/>
    <p:sldId id="2147477777" r:id="rId417"/>
    <p:sldId id="2147477778" r:id="rId418"/>
    <p:sldId id="2147477779" r:id="rId419"/>
    <p:sldId id="2147477780" r:id="rId420"/>
    <p:sldId id="2147477781" r:id="rId421"/>
    <p:sldId id="2147477782" r:id="rId422"/>
    <p:sldId id="2147477783" r:id="rId423"/>
    <p:sldId id="2147477784" r:id="rId424"/>
    <p:sldId id="2147477785" r:id="rId425"/>
    <p:sldId id="2147477786" r:id="rId426"/>
    <p:sldId id="2147477787" r:id="rId427"/>
    <p:sldId id="2147477788" r:id="rId428"/>
    <p:sldId id="2147477789" r:id="rId429"/>
    <p:sldId id="2147477790" r:id="rId430"/>
    <p:sldId id="2147477791" r:id="rId431"/>
    <p:sldId id="2147477792" r:id="rId432"/>
    <p:sldId id="2147477793" r:id="rId433"/>
    <p:sldId id="2147477794" r:id="rId434"/>
    <p:sldId id="2147477795" r:id="rId435"/>
    <p:sldId id="2147477796" r:id="rId436"/>
    <p:sldId id="2147477797" r:id="rId437"/>
    <p:sldId id="2147477798" r:id="rId438"/>
    <p:sldId id="2147477799" r:id="rId439"/>
    <p:sldId id="2147477800" r:id="rId440"/>
    <p:sldId id="2147477801" r:id="rId441"/>
    <p:sldId id="2147477802" r:id="rId442"/>
    <p:sldId id="2147477803" r:id="rId443"/>
    <p:sldId id="2147477804" r:id="rId444"/>
    <p:sldId id="2147477805" r:id="rId445"/>
    <p:sldId id="2147477806" r:id="rId446"/>
    <p:sldId id="2147477807" r:id="rId447"/>
    <p:sldId id="2147477808" r:id="rId448"/>
    <p:sldId id="2147477809" r:id="rId449"/>
    <p:sldId id="2147477810" r:id="rId450"/>
    <p:sldId id="2147477811" r:id="rId451"/>
    <p:sldId id="2147477812" r:id="rId452"/>
    <p:sldId id="2147477813" r:id="rId453"/>
    <p:sldId id="2147477814" r:id="rId454"/>
    <p:sldId id="2147477815" r:id="rId455"/>
    <p:sldId id="2147477816" r:id="rId456"/>
    <p:sldId id="2147477817" r:id="rId457"/>
    <p:sldId id="2147477818" r:id="rId458"/>
    <p:sldId id="2147477819" r:id="rId459"/>
    <p:sldId id="2147477820" r:id="rId460"/>
    <p:sldId id="2147477821" r:id="rId461"/>
    <p:sldId id="2147477822" r:id="rId462"/>
    <p:sldId id="2147477823" r:id="rId463"/>
    <p:sldId id="2147477824" r:id="rId464"/>
    <p:sldId id="2147477825" r:id="rId465"/>
    <p:sldId id="2147477826" r:id="rId466"/>
    <p:sldId id="2147477827" r:id="rId467"/>
    <p:sldId id="2147477828" r:id="rId468"/>
    <p:sldId id="2147477829" r:id="rId469"/>
    <p:sldId id="2147477830" r:id="rId470"/>
    <p:sldId id="2147477831" r:id="rId471"/>
    <p:sldId id="2147477832" r:id="rId472"/>
    <p:sldId id="2147477833" r:id="rId473"/>
    <p:sldId id="2147477834" r:id="rId474"/>
    <p:sldId id="2147477835" r:id="rId475"/>
    <p:sldId id="2147477836" r:id="rId476"/>
    <p:sldId id="2147477837" r:id="rId477"/>
    <p:sldId id="2147477838" r:id="rId478"/>
    <p:sldId id="2147477839" r:id="rId479"/>
    <p:sldId id="2147477840" r:id="rId480"/>
    <p:sldId id="2147477841" r:id="rId481"/>
    <p:sldId id="2147477842" r:id="rId482"/>
    <p:sldId id="2147477843" r:id="rId483"/>
    <p:sldId id="2147477844" r:id="rId484"/>
    <p:sldId id="2147477845" r:id="rId485"/>
    <p:sldId id="2147477846" r:id="rId486"/>
    <p:sldId id="2147477847" r:id="rId487"/>
    <p:sldId id="2147477848" r:id="rId488"/>
    <p:sldId id="2147477849" r:id="rId489"/>
    <p:sldId id="2147477850" r:id="rId490"/>
    <p:sldId id="2147477851" r:id="rId491"/>
    <p:sldId id="2147477852" r:id="rId492"/>
    <p:sldId id="2147477853" r:id="rId493"/>
    <p:sldId id="2147477854" r:id="rId494"/>
    <p:sldId id="2147477855" r:id="rId495"/>
    <p:sldId id="2147477856" r:id="rId496"/>
    <p:sldId id="2147477857" r:id="rId497"/>
    <p:sldId id="2147477858" r:id="rId498"/>
    <p:sldId id="2147477859" r:id="rId499"/>
    <p:sldId id="2147477860" r:id="rId500"/>
    <p:sldId id="2147477861" r:id="rId501"/>
    <p:sldId id="2147477862" r:id="rId502"/>
    <p:sldId id="2147477863" r:id="rId503"/>
    <p:sldId id="2147477864" r:id="rId504"/>
    <p:sldId id="2147477865" r:id="rId505"/>
    <p:sldId id="2147477866" r:id="rId506"/>
    <p:sldId id="2147477867" r:id="rId507"/>
    <p:sldId id="2147477868" r:id="rId508"/>
    <p:sldId id="2147477869" r:id="rId509"/>
    <p:sldId id="2147477870" r:id="rId510"/>
    <p:sldId id="2147477871" r:id="rId511"/>
    <p:sldId id="2147477872" r:id="rId512"/>
    <p:sldId id="2147477873" r:id="rId513"/>
    <p:sldId id="2147477874" r:id="rId514"/>
    <p:sldId id="2147477875" r:id="rId515"/>
    <p:sldId id="2147477876" r:id="rId516"/>
    <p:sldId id="2147477877" r:id="rId517"/>
    <p:sldId id="2147477878" r:id="rId518"/>
    <p:sldId id="2147477879" r:id="rId519"/>
    <p:sldId id="2147477880" r:id="rId520"/>
    <p:sldId id="2147477881" r:id="rId521"/>
    <p:sldId id="2147477882" r:id="rId522"/>
    <p:sldId id="2147477883" r:id="rId523"/>
    <p:sldId id="2147477884" r:id="rId524"/>
    <p:sldId id="2147477885" r:id="rId525"/>
    <p:sldId id="2147477886" r:id="rId526"/>
    <p:sldId id="2147477887" r:id="rId527"/>
    <p:sldId id="2147477888" r:id="rId528"/>
    <p:sldId id="2147477889" r:id="rId529"/>
    <p:sldId id="2147477890" r:id="rId530"/>
    <p:sldId id="2147477891" r:id="rId531"/>
    <p:sldId id="2147477892" r:id="rId532"/>
    <p:sldId id="2147477893" r:id="rId533"/>
    <p:sldId id="2147477894" r:id="rId534"/>
    <p:sldId id="2147477895" r:id="rId535"/>
    <p:sldId id="2147477896" r:id="rId536"/>
    <p:sldId id="2147477897" r:id="rId537"/>
    <p:sldId id="2147477898" r:id="rId538"/>
    <p:sldId id="2147477899" r:id="rId539"/>
    <p:sldId id="2147477900" r:id="rId540"/>
    <p:sldId id="2147477901" r:id="rId541"/>
    <p:sldId id="2147477902" r:id="rId54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ice Positioning Analysis By Brands" id="{9F2A1607-C0F3-494F-9AB3-B11A03BD2B45}">
          <p14:sldIdLst>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 id="2147477379"/>
            <p14:sldId id="2147477380"/>
            <p14:sldId id="2147477381"/>
            <p14:sldId id="2147477382"/>
            <p14:sldId id="2147477383"/>
            <p14:sldId id="2147477384"/>
            <p14:sldId id="2147477385"/>
            <p14:sldId id="2147477386"/>
            <p14:sldId id="2147477387"/>
            <p14:sldId id="2147477388"/>
            <p14:sldId id="2147477389"/>
            <p14:sldId id="2147477390"/>
            <p14:sldId id="2147477391"/>
            <p14:sldId id="2147477392"/>
            <p14:sldId id="2147477393"/>
            <p14:sldId id="2147477394"/>
            <p14:sldId id="2147477395"/>
            <p14:sldId id="2147477396"/>
            <p14:sldId id="2147477397"/>
            <p14:sldId id="2147477398"/>
            <p14:sldId id="2147477399"/>
            <p14:sldId id="2147477400"/>
            <p14:sldId id="2147477401"/>
            <p14:sldId id="2147477402"/>
            <p14:sldId id="2147477403"/>
            <p14:sldId id="2147477404"/>
            <p14:sldId id="2147477405"/>
            <p14:sldId id="2147477406"/>
            <p14:sldId id="2147477407"/>
            <p14:sldId id="2147477408"/>
            <p14:sldId id="2147477409"/>
            <p14:sldId id="2147477410"/>
            <p14:sldId id="2147477411"/>
            <p14:sldId id="2147477412"/>
            <p14:sldId id="2147477413"/>
            <p14:sldId id="2147477414"/>
            <p14:sldId id="2147477415"/>
            <p14:sldId id="2147477416"/>
            <p14:sldId id="2147477417"/>
            <p14:sldId id="2147477418"/>
            <p14:sldId id="2147477419"/>
            <p14:sldId id="2147477420"/>
            <p14:sldId id="2147477421"/>
            <p14:sldId id="2147477422"/>
            <p14:sldId id="2147477423"/>
            <p14:sldId id="2147477424"/>
            <p14:sldId id="2147477425"/>
            <p14:sldId id="2147477426"/>
            <p14:sldId id="2147477427"/>
            <p14:sldId id="2147477428"/>
            <p14:sldId id="2147477429"/>
            <p14:sldId id="2147477430"/>
            <p14:sldId id="2147477431"/>
            <p14:sldId id="2147477432"/>
            <p14:sldId id="2147477433"/>
            <p14:sldId id="2147477434"/>
            <p14:sldId id="2147477435"/>
            <p14:sldId id="2147477436"/>
            <p14:sldId id="2147477437"/>
            <p14:sldId id="2147477438"/>
            <p14:sldId id="2147477439"/>
            <p14:sldId id="2147477440"/>
            <p14:sldId id="2147477441"/>
            <p14:sldId id="2147477442"/>
            <p14:sldId id="2147477443"/>
            <p14:sldId id="2147477444"/>
            <p14:sldId id="2147477445"/>
            <p14:sldId id="2147477446"/>
            <p14:sldId id="2147477447"/>
            <p14:sldId id="2147477448"/>
            <p14:sldId id="2147477449"/>
            <p14:sldId id="2147477450"/>
            <p14:sldId id="2147477451"/>
            <p14:sldId id="2147477452"/>
            <p14:sldId id="2147477453"/>
            <p14:sldId id="2147477454"/>
            <p14:sldId id="2147477455"/>
            <p14:sldId id="2147477456"/>
            <p14:sldId id="2147477457"/>
            <p14:sldId id="2147477458"/>
            <p14:sldId id="2147477459"/>
            <p14:sldId id="2147477460"/>
            <p14:sldId id="2147477461"/>
            <p14:sldId id="2147477462"/>
            <p14:sldId id="2147477463"/>
            <p14:sldId id="2147477464"/>
            <p14:sldId id="2147477465"/>
            <p14:sldId id="2147477466"/>
            <p14:sldId id="2147477467"/>
            <p14:sldId id="2147477468"/>
            <p14:sldId id="2147477469"/>
            <p14:sldId id="2147477470"/>
            <p14:sldId id="2147477471"/>
            <p14:sldId id="2147477472"/>
            <p14:sldId id="2147477473"/>
            <p14:sldId id="2147477474"/>
            <p14:sldId id="2147477475"/>
            <p14:sldId id="2147477476"/>
            <p14:sldId id="2147477477"/>
            <p14:sldId id="2147477478"/>
            <p14:sldId id="2147477479"/>
            <p14:sldId id="2147477480"/>
            <p14:sldId id="2147477481"/>
            <p14:sldId id="2147477482"/>
            <p14:sldId id="2147477483"/>
            <p14:sldId id="2147477484"/>
            <p14:sldId id="2147477485"/>
            <p14:sldId id="2147477486"/>
            <p14:sldId id="2147477487"/>
            <p14:sldId id="2147477488"/>
            <p14:sldId id="2147477489"/>
            <p14:sldId id="2147477490"/>
            <p14:sldId id="2147477491"/>
            <p14:sldId id="2147477492"/>
            <p14:sldId id="2147477493"/>
            <p14:sldId id="2147477494"/>
            <p14:sldId id="2147477495"/>
            <p14:sldId id="2147477496"/>
            <p14:sldId id="2147477497"/>
            <p14:sldId id="2147477498"/>
            <p14:sldId id="2147477499"/>
            <p14:sldId id="2147477500"/>
            <p14:sldId id="2147477501"/>
            <p14:sldId id="2147477502"/>
            <p14:sldId id="2147477503"/>
            <p14:sldId id="2147477504"/>
            <p14:sldId id="2147477505"/>
            <p14:sldId id="2147477506"/>
            <p14:sldId id="2147477507"/>
            <p14:sldId id="2147477508"/>
            <p14:sldId id="2147477509"/>
            <p14:sldId id="2147477510"/>
            <p14:sldId id="2147477511"/>
            <p14:sldId id="2147477512"/>
            <p14:sldId id="2147477513"/>
            <p14:sldId id="2147477514"/>
            <p14:sldId id="2147477515"/>
            <p14:sldId id="2147477516"/>
            <p14:sldId id="2147477517"/>
            <p14:sldId id="2147477518"/>
            <p14:sldId id="2147477519"/>
            <p14:sldId id="2147477520"/>
            <p14:sldId id="2147477521"/>
            <p14:sldId id="2147477522"/>
            <p14:sldId id="2147477523"/>
            <p14:sldId id="2147477524"/>
            <p14:sldId id="2147477525"/>
            <p14:sldId id="2147477526"/>
            <p14:sldId id="2147477527"/>
            <p14:sldId id="2147477528"/>
            <p14:sldId id="2147477529"/>
            <p14:sldId id="2147477530"/>
            <p14:sldId id="2147477531"/>
            <p14:sldId id="2147477532"/>
            <p14:sldId id="2147477533"/>
            <p14:sldId id="2147477534"/>
            <p14:sldId id="2147477535"/>
            <p14:sldId id="2147477536"/>
            <p14:sldId id="2147477537"/>
            <p14:sldId id="2147477538"/>
            <p14:sldId id="2147477539"/>
            <p14:sldId id="2147477540"/>
            <p14:sldId id="2147477541"/>
            <p14:sldId id="2147477542"/>
            <p14:sldId id="2147477543"/>
            <p14:sldId id="2147477544"/>
            <p14:sldId id="2147477545"/>
            <p14:sldId id="2147477546"/>
            <p14:sldId id="2147477547"/>
            <p14:sldId id="2147477548"/>
            <p14:sldId id="2147477549"/>
            <p14:sldId id="2147477550"/>
            <p14:sldId id="2147477551"/>
            <p14:sldId id="2147477552"/>
            <p14:sldId id="2147477553"/>
            <p14:sldId id="2147477554"/>
            <p14:sldId id="2147477555"/>
            <p14:sldId id="2147477556"/>
            <p14:sldId id="2147477557"/>
            <p14:sldId id="2147477558"/>
            <p14:sldId id="2147477559"/>
            <p14:sldId id="2147477560"/>
            <p14:sldId id="2147477561"/>
            <p14:sldId id="2147477562"/>
            <p14:sldId id="2147477563"/>
            <p14:sldId id="2147477564"/>
            <p14:sldId id="2147477565"/>
            <p14:sldId id="2147477566"/>
            <p14:sldId id="2147477567"/>
            <p14:sldId id="2147477568"/>
            <p14:sldId id="2147477569"/>
            <p14:sldId id="2147477570"/>
            <p14:sldId id="2147477571"/>
            <p14:sldId id="2147477572"/>
            <p14:sldId id="2147477573"/>
            <p14:sldId id="2147477574"/>
            <p14:sldId id="2147477575"/>
            <p14:sldId id="2147477576"/>
            <p14:sldId id="2147477577"/>
            <p14:sldId id="2147477578"/>
            <p14:sldId id="2147477579"/>
            <p14:sldId id="2147477580"/>
            <p14:sldId id="2147477581"/>
            <p14:sldId id="2147477582"/>
            <p14:sldId id="2147477583"/>
            <p14:sldId id="2147477584"/>
            <p14:sldId id="2147477585"/>
            <p14:sldId id="2147477586"/>
            <p14:sldId id="2147477587"/>
            <p14:sldId id="2147477588"/>
            <p14:sldId id="2147477589"/>
            <p14:sldId id="2147477590"/>
            <p14:sldId id="2147477591"/>
            <p14:sldId id="2147477592"/>
            <p14:sldId id="2147477593"/>
            <p14:sldId id="2147477594"/>
            <p14:sldId id="2147477595"/>
            <p14:sldId id="2147477596"/>
            <p14:sldId id="2147477597"/>
            <p14:sldId id="2147477598"/>
            <p14:sldId id="2147477599"/>
            <p14:sldId id="2147477600"/>
            <p14:sldId id="2147477601"/>
            <p14:sldId id="2147477602"/>
            <p14:sldId id="2147477603"/>
            <p14:sldId id="2147477604"/>
            <p14:sldId id="2147477605"/>
            <p14:sldId id="2147477606"/>
            <p14:sldId id="2147477607"/>
            <p14:sldId id="2147477608"/>
            <p14:sldId id="2147477609"/>
            <p14:sldId id="2147477610"/>
            <p14:sldId id="2147477611"/>
            <p14:sldId id="2147477612"/>
            <p14:sldId id="2147477613"/>
            <p14:sldId id="2147477614"/>
            <p14:sldId id="2147477615"/>
            <p14:sldId id="2147477616"/>
            <p14:sldId id="2147477617"/>
            <p14:sldId id="2147477618"/>
            <p14:sldId id="2147477619"/>
            <p14:sldId id="2147477620"/>
            <p14:sldId id="2147477621"/>
            <p14:sldId id="2147477622"/>
            <p14:sldId id="2147477623"/>
            <p14:sldId id="2147477624"/>
            <p14:sldId id="2147477625"/>
            <p14:sldId id="2147477626"/>
            <p14:sldId id="2147477627"/>
            <p14:sldId id="2147477628"/>
            <p14:sldId id="2147477629"/>
            <p14:sldId id="2147477630"/>
            <p14:sldId id="2147477631"/>
            <p14:sldId id="2147477632"/>
            <p14:sldId id="2147477633"/>
          </p14:sldIdLst>
        </p14:section>
        <p14:section name="Price Positioning Analysis By Manufacturer" id="{338873A1-CAB8-4E29-BCCE-A98440F2E1CC}">
          <p14:sldIdLst>
            <p14:sldId id="2147477634"/>
            <p14:sldId id="2147477635"/>
            <p14:sldId id="2147477636"/>
            <p14:sldId id="2147477637"/>
            <p14:sldId id="2147477638"/>
            <p14:sldId id="2147477639"/>
            <p14:sldId id="2147477640"/>
            <p14:sldId id="2147477641"/>
            <p14:sldId id="2147477642"/>
            <p14:sldId id="2147477643"/>
            <p14:sldId id="2147477644"/>
            <p14:sldId id="2147477645"/>
            <p14:sldId id="2147477646"/>
            <p14:sldId id="2147477647"/>
            <p14:sldId id="2147477648"/>
            <p14:sldId id="2147477649"/>
            <p14:sldId id="2147477650"/>
            <p14:sldId id="2147477651"/>
            <p14:sldId id="2147477652"/>
            <p14:sldId id="2147477653"/>
            <p14:sldId id="2147477654"/>
            <p14:sldId id="2147477655"/>
            <p14:sldId id="2147477656"/>
            <p14:sldId id="2147477657"/>
            <p14:sldId id="2147477658"/>
            <p14:sldId id="2147477659"/>
            <p14:sldId id="2147477660"/>
            <p14:sldId id="2147477661"/>
            <p14:sldId id="2147477662"/>
            <p14:sldId id="2147477663"/>
            <p14:sldId id="2147477664"/>
            <p14:sldId id="2147477665"/>
            <p14:sldId id="2147477666"/>
            <p14:sldId id="2147477667"/>
            <p14:sldId id="2147477668"/>
            <p14:sldId id="2147477669"/>
            <p14:sldId id="2147477670"/>
            <p14:sldId id="2147477671"/>
            <p14:sldId id="2147477672"/>
            <p14:sldId id="2147477673"/>
            <p14:sldId id="2147477674"/>
            <p14:sldId id="2147477675"/>
            <p14:sldId id="2147477676"/>
            <p14:sldId id="2147477677"/>
            <p14:sldId id="2147477678"/>
            <p14:sldId id="2147477679"/>
            <p14:sldId id="2147477680"/>
            <p14:sldId id="2147477681"/>
            <p14:sldId id="2147477682"/>
            <p14:sldId id="2147477683"/>
            <p14:sldId id="2147477684"/>
            <p14:sldId id="2147477685"/>
            <p14:sldId id="2147477686"/>
            <p14:sldId id="2147477687"/>
            <p14:sldId id="2147477688"/>
            <p14:sldId id="2147477689"/>
            <p14:sldId id="2147477690"/>
            <p14:sldId id="2147477691"/>
            <p14:sldId id="2147477692"/>
            <p14:sldId id="2147477693"/>
            <p14:sldId id="2147477694"/>
            <p14:sldId id="2147477695"/>
            <p14:sldId id="2147477696"/>
            <p14:sldId id="2147477697"/>
            <p14:sldId id="2147477698"/>
            <p14:sldId id="2147477699"/>
            <p14:sldId id="2147477700"/>
            <p14:sldId id="2147477701"/>
            <p14:sldId id="2147477702"/>
            <p14:sldId id="2147477703"/>
            <p14:sldId id="2147477704"/>
            <p14:sldId id="2147477705"/>
            <p14:sldId id="2147477706"/>
            <p14:sldId id="2147477707"/>
            <p14:sldId id="2147477708"/>
            <p14:sldId id="2147477709"/>
            <p14:sldId id="2147477710"/>
            <p14:sldId id="2147477711"/>
            <p14:sldId id="2147477712"/>
            <p14:sldId id="2147477713"/>
            <p14:sldId id="2147477714"/>
            <p14:sldId id="2147477715"/>
            <p14:sldId id="2147477716"/>
            <p14:sldId id="2147477717"/>
            <p14:sldId id="2147477718"/>
            <p14:sldId id="2147477719"/>
            <p14:sldId id="2147477720"/>
            <p14:sldId id="2147477721"/>
            <p14:sldId id="2147477722"/>
            <p14:sldId id="2147477723"/>
            <p14:sldId id="2147477724"/>
            <p14:sldId id="2147477725"/>
            <p14:sldId id="2147477726"/>
            <p14:sldId id="2147477727"/>
            <p14:sldId id="2147477728"/>
            <p14:sldId id="2147477729"/>
            <p14:sldId id="2147477730"/>
            <p14:sldId id="2147477731"/>
            <p14:sldId id="2147477732"/>
            <p14:sldId id="2147477733"/>
            <p14:sldId id="2147477734"/>
            <p14:sldId id="2147477735"/>
            <p14:sldId id="2147477736"/>
            <p14:sldId id="2147477737"/>
            <p14:sldId id="2147477738"/>
            <p14:sldId id="2147477739"/>
            <p14:sldId id="2147477740"/>
            <p14:sldId id="2147477741"/>
            <p14:sldId id="2147477742"/>
            <p14:sldId id="2147477743"/>
            <p14:sldId id="2147477744"/>
            <p14:sldId id="2147477745"/>
            <p14:sldId id="2147477746"/>
            <p14:sldId id="2147477747"/>
            <p14:sldId id="2147477748"/>
            <p14:sldId id="2147477749"/>
            <p14:sldId id="2147477750"/>
            <p14:sldId id="2147477751"/>
            <p14:sldId id="2147477752"/>
            <p14:sldId id="2147477753"/>
            <p14:sldId id="2147477754"/>
            <p14:sldId id="2147477755"/>
            <p14:sldId id="2147477756"/>
            <p14:sldId id="2147477757"/>
            <p14:sldId id="2147477758"/>
            <p14:sldId id="2147477759"/>
            <p14:sldId id="2147477760"/>
            <p14:sldId id="2147477761"/>
            <p14:sldId id="2147477762"/>
            <p14:sldId id="2147477763"/>
            <p14:sldId id="2147477764"/>
            <p14:sldId id="2147477765"/>
            <p14:sldId id="2147477766"/>
            <p14:sldId id="2147477767"/>
            <p14:sldId id="2147477768"/>
            <p14:sldId id="2147477769"/>
            <p14:sldId id="2147477770"/>
            <p14:sldId id="2147477771"/>
            <p14:sldId id="2147477772"/>
            <p14:sldId id="2147477773"/>
            <p14:sldId id="2147477774"/>
            <p14:sldId id="2147477775"/>
            <p14:sldId id="2147477776"/>
            <p14:sldId id="2147477777"/>
            <p14:sldId id="2147477778"/>
            <p14:sldId id="2147477779"/>
            <p14:sldId id="2147477780"/>
            <p14:sldId id="2147477781"/>
            <p14:sldId id="2147477782"/>
            <p14:sldId id="2147477783"/>
            <p14:sldId id="2147477784"/>
            <p14:sldId id="2147477785"/>
            <p14:sldId id="2147477786"/>
            <p14:sldId id="2147477787"/>
            <p14:sldId id="2147477788"/>
            <p14:sldId id="2147477789"/>
            <p14:sldId id="2147477790"/>
            <p14:sldId id="2147477791"/>
            <p14:sldId id="2147477792"/>
            <p14:sldId id="2147477793"/>
            <p14:sldId id="2147477794"/>
            <p14:sldId id="2147477795"/>
            <p14:sldId id="2147477796"/>
            <p14:sldId id="2147477797"/>
            <p14:sldId id="2147477798"/>
            <p14:sldId id="2147477799"/>
            <p14:sldId id="2147477800"/>
            <p14:sldId id="2147477801"/>
            <p14:sldId id="2147477802"/>
            <p14:sldId id="2147477803"/>
            <p14:sldId id="2147477804"/>
            <p14:sldId id="2147477805"/>
            <p14:sldId id="2147477806"/>
            <p14:sldId id="2147477807"/>
            <p14:sldId id="2147477808"/>
            <p14:sldId id="2147477809"/>
            <p14:sldId id="2147477810"/>
            <p14:sldId id="2147477811"/>
            <p14:sldId id="2147477812"/>
            <p14:sldId id="2147477813"/>
            <p14:sldId id="2147477814"/>
            <p14:sldId id="2147477815"/>
            <p14:sldId id="2147477816"/>
            <p14:sldId id="2147477817"/>
            <p14:sldId id="2147477818"/>
            <p14:sldId id="2147477819"/>
            <p14:sldId id="2147477820"/>
            <p14:sldId id="2147477821"/>
            <p14:sldId id="2147477822"/>
            <p14:sldId id="2147477823"/>
            <p14:sldId id="2147477824"/>
            <p14:sldId id="2147477825"/>
            <p14:sldId id="2147477826"/>
            <p14:sldId id="2147477827"/>
            <p14:sldId id="2147477828"/>
            <p14:sldId id="2147477829"/>
            <p14:sldId id="2147477830"/>
            <p14:sldId id="2147477831"/>
            <p14:sldId id="2147477832"/>
            <p14:sldId id="2147477833"/>
            <p14:sldId id="2147477834"/>
            <p14:sldId id="2147477835"/>
            <p14:sldId id="2147477836"/>
            <p14:sldId id="2147477837"/>
            <p14:sldId id="2147477838"/>
            <p14:sldId id="2147477839"/>
            <p14:sldId id="2147477840"/>
            <p14:sldId id="2147477841"/>
            <p14:sldId id="2147477842"/>
            <p14:sldId id="2147477843"/>
            <p14:sldId id="2147477844"/>
            <p14:sldId id="2147477845"/>
            <p14:sldId id="2147477846"/>
            <p14:sldId id="2147477847"/>
            <p14:sldId id="2147477848"/>
            <p14:sldId id="2147477849"/>
            <p14:sldId id="2147477850"/>
            <p14:sldId id="2147477851"/>
            <p14:sldId id="2147477852"/>
            <p14:sldId id="2147477853"/>
            <p14:sldId id="2147477854"/>
            <p14:sldId id="2147477855"/>
            <p14:sldId id="2147477856"/>
            <p14:sldId id="2147477857"/>
            <p14:sldId id="2147477858"/>
            <p14:sldId id="2147477859"/>
            <p14:sldId id="2147477860"/>
            <p14:sldId id="2147477861"/>
            <p14:sldId id="2147477862"/>
            <p14:sldId id="2147477863"/>
            <p14:sldId id="2147477864"/>
            <p14:sldId id="2147477865"/>
            <p14:sldId id="2147477866"/>
            <p14:sldId id="2147477867"/>
            <p14:sldId id="2147477868"/>
            <p14:sldId id="2147477869"/>
            <p14:sldId id="2147477870"/>
            <p14:sldId id="2147477871"/>
            <p14:sldId id="2147477872"/>
            <p14:sldId id="2147477873"/>
            <p14:sldId id="2147477874"/>
            <p14:sldId id="2147477875"/>
            <p14:sldId id="2147477876"/>
            <p14:sldId id="2147477877"/>
            <p14:sldId id="2147477878"/>
            <p14:sldId id="2147477879"/>
            <p14:sldId id="2147477880"/>
            <p14:sldId id="2147477881"/>
            <p14:sldId id="2147477882"/>
            <p14:sldId id="2147477883"/>
            <p14:sldId id="2147477884"/>
            <p14:sldId id="2147477885"/>
            <p14:sldId id="2147477886"/>
            <p14:sldId id="2147477887"/>
            <p14:sldId id="2147477888"/>
            <p14:sldId id="2147477889"/>
            <p14:sldId id="2147477890"/>
            <p14:sldId id="2147477891"/>
            <p14:sldId id="2147477892"/>
            <p14:sldId id="2147477893"/>
            <p14:sldId id="2147477894"/>
            <p14:sldId id="2147477895"/>
            <p14:sldId id="2147477896"/>
            <p14:sldId id="2147477897"/>
            <p14:sldId id="2147477898"/>
            <p14:sldId id="2147477899"/>
            <p14:sldId id="2147477900"/>
            <p14:sldId id="2147477901"/>
            <p14:sldId id="2147477902"/>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0A097"/>
    <a:srgbClr val="006C6D"/>
    <a:srgbClr val="99CC00"/>
    <a:srgbClr val="CCFF66"/>
    <a:srgbClr val="99EA16"/>
    <a:srgbClr val="AEABAB"/>
    <a:srgbClr val="BCBBBB"/>
    <a:srgbClr val="7ECAC4"/>
    <a:srgbClr val="CFCE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324" Type="http://schemas.openxmlformats.org/officeDocument/2006/relationships/slide" Target="slides/slide320.xml"/><Relationship Id="rId531" Type="http://schemas.openxmlformats.org/officeDocument/2006/relationships/slide" Target="slides/slide527.xml"/><Relationship Id="rId170" Type="http://schemas.openxmlformats.org/officeDocument/2006/relationships/slide" Target="slides/slide166.xml"/><Relationship Id="rId268" Type="http://schemas.openxmlformats.org/officeDocument/2006/relationships/slide" Target="slides/slide264.xml"/><Relationship Id="rId475" Type="http://schemas.openxmlformats.org/officeDocument/2006/relationships/slide" Target="slides/slide471.xml"/><Relationship Id="rId32" Type="http://schemas.openxmlformats.org/officeDocument/2006/relationships/slide" Target="slides/slide28.xml"/><Relationship Id="rId128" Type="http://schemas.openxmlformats.org/officeDocument/2006/relationships/slide" Target="slides/slide124.xml"/><Relationship Id="rId335" Type="http://schemas.openxmlformats.org/officeDocument/2006/relationships/slide" Target="slides/slide331.xml"/><Relationship Id="rId542" Type="http://schemas.openxmlformats.org/officeDocument/2006/relationships/slide" Target="slides/slide538.xml"/><Relationship Id="rId181" Type="http://schemas.openxmlformats.org/officeDocument/2006/relationships/slide" Target="slides/slide177.xml"/><Relationship Id="rId402" Type="http://schemas.openxmlformats.org/officeDocument/2006/relationships/slide" Target="slides/slide398.xml"/><Relationship Id="rId279" Type="http://schemas.openxmlformats.org/officeDocument/2006/relationships/slide" Target="slides/slide275.xml"/><Relationship Id="rId486" Type="http://schemas.openxmlformats.org/officeDocument/2006/relationships/slide" Target="slides/slide482.xml"/><Relationship Id="rId43" Type="http://schemas.openxmlformats.org/officeDocument/2006/relationships/slide" Target="slides/slide39.xml"/><Relationship Id="rId139" Type="http://schemas.openxmlformats.org/officeDocument/2006/relationships/slide" Target="slides/slide135.xml"/><Relationship Id="rId346" Type="http://schemas.openxmlformats.org/officeDocument/2006/relationships/slide" Target="slides/slide342.xml"/><Relationship Id="rId192" Type="http://schemas.openxmlformats.org/officeDocument/2006/relationships/slide" Target="slides/slide188.xml"/><Relationship Id="rId206" Type="http://schemas.openxmlformats.org/officeDocument/2006/relationships/slide" Target="slides/slide202.xml"/><Relationship Id="rId413" Type="http://schemas.openxmlformats.org/officeDocument/2006/relationships/slide" Target="slides/slide409.xml"/><Relationship Id="rId248" Type="http://schemas.openxmlformats.org/officeDocument/2006/relationships/slide" Target="slides/slide244.xml"/><Relationship Id="rId455" Type="http://schemas.openxmlformats.org/officeDocument/2006/relationships/slide" Target="slides/slide451.xml"/><Relationship Id="rId497" Type="http://schemas.openxmlformats.org/officeDocument/2006/relationships/slide" Target="slides/slide493.xml"/><Relationship Id="rId12" Type="http://schemas.openxmlformats.org/officeDocument/2006/relationships/slide" Target="slides/slide8.xml"/><Relationship Id="rId108" Type="http://schemas.openxmlformats.org/officeDocument/2006/relationships/slide" Target="slides/slide104.xml"/><Relationship Id="rId315" Type="http://schemas.openxmlformats.org/officeDocument/2006/relationships/slide" Target="slides/slide311.xml"/><Relationship Id="rId357" Type="http://schemas.openxmlformats.org/officeDocument/2006/relationships/slide" Target="slides/slide353.xml"/><Relationship Id="rId522" Type="http://schemas.openxmlformats.org/officeDocument/2006/relationships/slide" Target="slides/slide518.xml"/><Relationship Id="rId54" Type="http://schemas.openxmlformats.org/officeDocument/2006/relationships/slide" Target="slides/slide50.xml"/><Relationship Id="rId96" Type="http://schemas.openxmlformats.org/officeDocument/2006/relationships/slide" Target="slides/slide92.xml"/><Relationship Id="rId161" Type="http://schemas.openxmlformats.org/officeDocument/2006/relationships/slide" Target="slides/slide157.xml"/><Relationship Id="rId217" Type="http://schemas.openxmlformats.org/officeDocument/2006/relationships/slide" Target="slides/slide213.xml"/><Relationship Id="rId399" Type="http://schemas.openxmlformats.org/officeDocument/2006/relationships/slide" Target="slides/slide395.xml"/><Relationship Id="rId259" Type="http://schemas.openxmlformats.org/officeDocument/2006/relationships/slide" Target="slides/slide255.xml"/><Relationship Id="rId424" Type="http://schemas.openxmlformats.org/officeDocument/2006/relationships/slide" Target="slides/slide420.xml"/><Relationship Id="rId466" Type="http://schemas.openxmlformats.org/officeDocument/2006/relationships/slide" Target="slides/slide462.xml"/><Relationship Id="rId23" Type="http://schemas.openxmlformats.org/officeDocument/2006/relationships/slide" Target="slides/slide19.xml"/><Relationship Id="rId119" Type="http://schemas.openxmlformats.org/officeDocument/2006/relationships/slide" Target="slides/slide115.xml"/><Relationship Id="rId270" Type="http://schemas.openxmlformats.org/officeDocument/2006/relationships/slide" Target="slides/slide266.xml"/><Relationship Id="rId326" Type="http://schemas.openxmlformats.org/officeDocument/2006/relationships/slide" Target="slides/slide322.xml"/><Relationship Id="rId533" Type="http://schemas.openxmlformats.org/officeDocument/2006/relationships/slide" Target="slides/slide529.xml"/><Relationship Id="rId65" Type="http://schemas.openxmlformats.org/officeDocument/2006/relationships/slide" Target="slides/slide61.xml"/><Relationship Id="rId130" Type="http://schemas.openxmlformats.org/officeDocument/2006/relationships/slide" Target="slides/slide126.xml"/><Relationship Id="rId368" Type="http://schemas.openxmlformats.org/officeDocument/2006/relationships/slide" Target="slides/slide364.xml"/><Relationship Id="rId172" Type="http://schemas.openxmlformats.org/officeDocument/2006/relationships/slide" Target="slides/slide168.xml"/><Relationship Id="rId228" Type="http://schemas.openxmlformats.org/officeDocument/2006/relationships/slide" Target="slides/slide224.xml"/><Relationship Id="rId435" Type="http://schemas.openxmlformats.org/officeDocument/2006/relationships/slide" Target="slides/slide431.xml"/><Relationship Id="rId477" Type="http://schemas.openxmlformats.org/officeDocument/2006/relationships/slide" Target="slides/slide473.xml"/><Relationship Id="rId281" Type="http://schemas.openxmlformats.org/officeDocument/2006/relationships/slide" Target="slides/slide277.xml"/><Relationship Id="rId337" Type="http://schemas.openxmlformats.org/officeDocument/2006/relationships/slide" Target="slides/slide333.xml"/><Relationship Id="rId502" Type="http://schemas.openxmlformats.org/officeDocument/2006/relationships/slide" Target="slides/slide498.xml"/><Relationship Id="rId34" Type="http://schemas.openxmlformats.org/officeDocument/2006/relationships/slide" Target="slides/slide30.xml"/><Relationship Id="rId76" Type="http://schemas.openxmlformats.org/officeDocument/2006/relationships/slide" Target="slides/slide72.xml"/><Relationship Id="rId141" Type="http://schemas.openxmlformats.org/officeDocument/2006/relationships/slide" Target="slides/slide137.xml"/><Relationship Id="rId379" Type="http://schemas.openxmlformats.org/officeDocument/2006/relationships/slide" Target="slides/slide375.xml"/><Relationship Id="rId544" Type="http://schemas.openxmlformats.org/officeDocument/2006/relationships/presProps" Target="presProps.xml"/><Relationship Id="rId7" Type="http://schemas.openxmlformats.org/officeDocument/2006/relationships/slide" Target="slides/slide3.xml"/><Relationship Id="rId183" Type="http://schemas.openxmlformats.org/officeDocument/2006/relationships/slide" Target="slides/slide179.xml"/><Relationship Id="rId239" Type="http://schemas.openxmlformats.org/officeDocument/2006/relationships/slide" Target="slides/slide235.xml"/><Relationship Id="rId390" Type="http://schemas.openxmlformats.org/officeDocument/2006/relationships/slide" Target="slides/slide386.xml"/><Relationship Id="rId404" Type="http://schemas.openxmlformats.org/officeDocument/2006/relationships/slide" Target="slides/slide400.xml"/><Relationship Id="rId446" Type="http://schemas.openxmlformats.org/officeDocument/2006/relationships/slide" Target="slides/slide442.xml"/><Relationship Id="rId250" Type="http://schemas.openxmlformats.org/officeDocument/2006/relationships/slide" Target="slides/slide246.xml"/><Relationship Id="rId292" Type="http://schemas.openxmlformats.org/officeDocument/2006/relationships/slide" Target="slides/slide288.xml"/><Relationship Id="rId306" Type="http://schemas.openxmlformats.org/officeDocument/2006/relationships/slide" Target="slides/slide302.xml"/><Relationship Id="rId488" Type="http://schemas.openxmlformats.org/officeDocument/2006/relationships/slide" Target="slides/slide484.xml"/><Relationship Id="rId45" Type="http://schemas.openxmlformats.org/officeDocument/2006/relationships/slide" Target="slides/slide41.xml"/><Relationship Id="rId87" Type="http://schemas.openxmlformats.org/officeDocument/2006/relationships/slide" Target="slides/slide83.xml"/><Relationship Id="rId110" Type="http://schemas.openxmlformats.org/officeDocument/2006/relationships/slide" Target="slides/slide106.xml"/><Relationship Id="rId348" Type="http://schemas.openxmlformats.org/officeDocument/2006/relationships/slide" Target="slides/slide344.xml"/><Relationship Id="rId513" Type="http://schemas.openxmlformats.org/officeDocument/2006/relationships/slide" Target="slides/slide509.xml"/><Relationship Id="rId152" Type="http://schemas.openxmlformats.org/officeDocument/2006/relationships/slide" Target="slides/slide148.xml"/><Relationship Id="rId194" Type="http://schemas.openxmlformats.org/officeDocument/2006/relationships/slide" Target="slides/slide190.xml"/><Relationship Id="rId208" Type="http://schemas.openxmlformats.org/officeDocument/2006/relationships/slide" Target="slides/slide204.xml"/><Relationship Id="rId415" Type="http://schemas.openxmlformats.org/officeDocument/2006/relationships/slide" Target="slides/slide411.xml"/><Relationship Id="rId457" Type="http://schemas.openxmlformats.org/officeDocument/2006/relationships/slide" Target="slides/slide453.xml"/><Relationship Id="rId261" Type="http://schemas.openxmlformats.org/officeDocument/2006/relationships/slide" Target="slides/slide257.xml"/><Relationship Id="rId499" Type="http://schemas.openxmlformats.org/officeDocument/2006/relationships/slide" Target="slides/slide495.xml"/><Relationship Id="rId14" Type="http://schemas.openxmlformats.org/officeDocument/2006/relationships/slide" Target="slides/slide10.xml"/><Relationship Id="rId56" Type="http://schemas.openxmlformats.org/officeDocument/2006/relationships/slide" Target="slides/slide52.xml"/><Relationship Id="rId317" Type="http://schemas.openxmlformats.org/officeDocument/2006/relationships/slide" Target="slides/slide313.xml"/><Relationship Id="rId359" Type="http://schemas.openxmlformats.org/officeDocument/2006/relationships/slide" Target="slides/slide355.xml"/><Relationship Id="rId524" Type="http://schemas.openxmlformats.org/officeDocument/2006/relationships/slide" Target="slides/slide520.xml"/><Relationship Id="rId98" Type="http://schemas.openxmlformats.org/officeDocument/2006/relationships/slide" Target="slides/slide94.xml"/><Relationship Id="rId121" Type="http://schemas.openxmlformats.org/officeDocument/2006/relationships/slide" Target="slides/slide117.xml"/><Relationship Id="rId163" Type="http://schemas.openxmlformats.org/officeDocument/2006/relationships/slide" Target="slides/slide159.xml"/><Relationship Id="rId219" Type="http://schemas.openxmlformats.org/officeDocument/2006/relationships/slide" Target="slides/slide215.xml"/><Relationship Id="rId370" Type="http://schemas.openxmlformats.org/officeDocument/2006/relationships/slide" Target="slides/slide366.xml"/><Relationship Id="rId426" Type="http://schemas.openxmlformats.org/officeDocument/2006/relationships/slide" Target="slides/slide422.xml"/><Relationship Id="rId230" Type="http://schemas.openxmlformats.org/officeDocument/2006/relationships/slide" Target="slides/slide226.xml"/><Relationship Id="rId468" Type="http://schemas.openxmlformats.org/officeDocument/2006/relationships/slide" Target="slides/slide464.xml"/><Relationship Id="rId25" Type="http://schemas.openxmlformats.org/officeDocument/2006/relationships/slide" Target="slides/slide21.xml"/><Relationship Id="rId67" Type="http://schemas.openxmlformats.org/officeDocument/2006/relationships/slide" Target="slides/slide63.xml"/><Relationship Id="rId272" Type="http://schemas.openxmlformats.org/officeDocument/2006/relationships/slide" Target="slides/slide268.xml"/><Relationship Id="rId328" Type="http://schemas.openxmlformats.org/officeDocument/2006/relationships/slide" Target="slides/slide324.xml"/><Relationship Id="rId535" Type="http://schemas.openxmlformats.org/officeDocument/2006/relationships/slide" Target="slides/slide531.xml"/><Relationship Id="rId132" Type="http://schemas.openxmlformats.org/officeDocument/2006/relationships/slide" Target="slides/slide128.xml"/><Relationship Id="rId174" Type="http://schemas.openxmlformats.org/officeDocument/2006/relationships/slide" Target="slides/slide170.xml"/><Relationship Id="rId381" Type="http://schemas.openxmlformats.org/officeDocument/2006/relationships/slide" Target="slides/slide377.xml"/><Relationship Id="rId241" Type="http://schemas.openxmlformats.org/officeDocument/2006/relationships/slide" Target="slides/slide237.xml"/><Relationship Id="rId437" Type="http://schemas.openxmlformats.org/officeDocument/2006/relationships/slide" Target="slides/slide433.xml"/><Relationship Id="rId479" Type="http://schemas.openxmlformats.org/officeDocument/2006/relationships/slide" Target="slides/slide475.xml"/><Relationship Id="rId36" Type="http://schemas.openxmlformats.org/officeDocument/2006/relationships/slide" Target="slides/slide32.xml"/><Relationship Id="rId283" Type="http://schemas.openxmlformats.org/officeDocument/2006/relationships/slide" Target="slides/slide279.xml"/><Relationship Id="rId339" Type="http://schemas.openxmlformats.org/officeDocument/2006/relationships/slide" Target="slides/slide335.xml"/><Relationship Id="rId490" Type="http://schemas.openxmlformats.org/officeDocument/2006/relationships/slide" Target="slides/slide486.xml"/><Relationship Id="rId504" Type="http://schemas.openxmlformats.org/officeDocument/2006/relationships/slide" Target="slides/slide500.xml"/><Relationship Id="rId546" Type="http://schemas.openxmlformats.org/officeDocument/2006/relationships/theme" Target="theme/theme1.xml"/><Relationship Id="rId78" Type="http://schemas.openxmlformats.org/officeDocument/2006/relationships/slide" Target="slides/slide74.xml"/><Relationship Id="rId101" Type="http://schemas.openxmlformats.org/officeDocument/2006/relationships/slide" Target="slides/slide97.xml"/><Relationship Id="rId143" Type="http://schemas.openxmlformats.org/officeDocument/2006/relationships/slide" Target="slides/slide139.xml"/><Relationship Id="rId185" Type="http://schemas.openxmlformats.org/officeDocument/2006/relationships/slide" Target="slides/slide181.xml"/><Relationship Id="rId350" Type="http://schemas.openxmlformats.org/officeDocument/2006/relationships/slide" Target="slides/slide346.xml"/><Relationship Id="rId406" Type="http://schemas.openxmlformats.org/officeDocument/2006/relationships/slide" Target="slides/slide402.xml"/><Relationship Id="rId9" Type="http://schemas.openxmlformats.org/officeDocument/2006/relationships/slide" Target="slides/slide5.xml"/><Relationship Id="rId210" Type="http://schemas.openxmlformats.org/officeDocument/2006/relationships/slide" Target="slides/slide206.xml"/><Relationship Id="rId392" Type="http://schemas.openxmlformats.org/officeDocument/2006/relationships/slide" Target="slides/slide388.xml"/><Relationship Id="rId448" Type="http://schemas.openxmlformats.org/officeDocument/2006/relationships/slide" Target="slides/slide444.xml"/><Relationship Id="rId252" Type="http://schemas.openxmlformats.org/officeDocument/2006/relationships/slide" Target="slides/slide248.xml"/><Relationship Id="rId294" Type="http://schemas.openxmlformats.org/officeDocument/2006/relationships/slide" Target="slides/slide290.xml"/><Relationship Id="rId308" Type="http://schemas.openxmlformats.org/officeDocument/2006/relationships/slide" Target="slides/slide304.xml"/><Relationship Id="rId515" Type="http://schemas.openxmlformats.org/officeDocument/2006/relationships/slide" Target="slides/slide511.xml"/><Relationship Id="rId47" Type="http://schemas.openxmlformats.org/officeDocument/2006/relationships/slide" Target="slides/slide43.xml"/><Relationship Id="rId89" Type="http://schemas.openxmlformats.org/officeDocument/2006/relationships/slide" Target="slides/slide85.xml"/><Relationship Id="rId112" Type="http://schemas.openxmlformats.org/officeDocument/2006/relationships/slide" Target="slides/slide108.xml"/><Relationship Id="rId154" Type="http://schemas.openxmlformats.org/officeDocument/2006/relationships/slide" Target="slides/slide150.xml"/><Relationship Id="rId361" Type="http://schemas.openxmlformats.org/officeDocument/2006/relationships/slide" Target="slides/slide357.xml"/><Relationship Id="rId196" Type="http://schemas.openxmlformats.org/officeDocument/2006/relationships/slide" Target="slides/slide192.xml"/><Relationship Id="rId417" Type="http://schemas.openxmlformats.org/officeDocument/2006/relationships/slide" Target="slides/slide413.xml"/><Relationship Id="rId459" Type="http://schemas.openxmlformats.org/officeDocument/2006/relationships/slide" Target="slides/slide455.xml"/><Relationship Id="rId16" Type="http://schemas.openxmlformats.org/officeDocument/2006/relationships/slide" Target="slides/slide12.xml"/><Relationship Id="rId221" Type="http://schemas.openxmlformats.org/officeDocument/2006/relationships/slide" Target="slides/slide217.xml"/><Relationship Id="rId263" Type="http://schemas.openxmlformats.org/officeDocument/2006/relationships/slide" Target="slides/slide259.xml"/><Relationship Id="rId319" Type="http://schemas.openxmlformats.org/officeDocument/2006/relationships/slide" Target="slides/slide315.xml"/><Relationship Id="rId470" Type="http://schemas.openxmlformats.org/officeDocument/2006/relationships/slide" Target="slides/slide466.xml"/><Relationship Id="rId526" Type="http://schemas.openxmlformats.org/officeDocument/2006/relationships/slide" Target="slides/slide522.xml"/><Relationship Id="rId58" Type="http://schemas.openxmlformats.org/officeDocument/2006/relationships/slide" Target="slides/slide54.xml"/><Relationship Id="rId123" Type="http://schemas.openxmlformats.org/officeDocument/2006/relationships/slide" Target="slides/slide119.xml"/><Relationship Id="rId330" Type="http://schemas.openxmlformats.org/officeDocument/2006/relationships/slide" Target="slides/slide326.xml"/><Relationship Id="rId165" Type="http://schemas.openxmlformats.org/officeDocument/2006/relationships/slide" Target="slides/slide161.xml"/><Relationship Id="rId372" Type="http://schemas.openxmlformats.org/officeDocument/2006/relationships/slide" Target="slides/slide368.xml"/><Relationship Id="rId428" Type="http://schemas.openxmlformats.org/officeDocument/2006/relationships/slide" Target="slides/slide424.xml"/><Relationship Id="rId232" Type="http://schemas.openxmlformats.org/officeDocument/2006/relationships/slide" Target="slides/slide228.xml"/><Relationship Id="rId274" Type="http://schemas.openxmlformats.org/officeDocument/2006/relationships/slide" Target="slides/slide270.xml"/><Relationship Id="rId481" Type="http://schemas.openxmlformats.org/officeDocument/2006/relationships/slide" Target="slides/slide477.xml"/><Relationship Id="rId27" Type="http://schemas.openxmlformats.org/officeDocument/2006/relationships/slide" Target="slides/slide23.xml"/><Relationship Id="rId69" Type="http://schemas.openxmlformats.org/officeDocument/2006/relationships/slide" Target="slides/slide65.xml"/><Relationship Id="rId134" Type="http://schemas.openxmlformats.org/officeDocument/2006/relationships/slide" Target="slides/slide130.xml"/><Relationship Id="rId537" Type="http://schemas.openxmlformats.org/officeDocument/2006/relationships/slide" Target="slides/slide533.xml"/><Relationship Id="rId80" Type="http://schemas.openxmlformats.org/officeDocument/2006/relationships/slide" Target="slides/slide76.xml"/><Relationship Id="rId176" Type="http://schemas.openxmlformats.org/officeDocument/2006/relationships/slide" Target="slides/slide172.xml"/><Relationship Id="rId341" Type="http://schemas.openxmlformats.org/officeDocument/2006/relationships/slide" Target="slides/slide337.xml"/><Relationship Id="rId383" Type="http://schemas.openxmlformats.org/officeDocument/2006/relationships/slide" Target="slides/slide379.xml"/><Relationship Id="rId439" Type="http://schemas.openxmlformats.org/officeDocument/2006/relationships/slide" Target="slides/slide435.xml"/><Relationship Id="rId201" Type="http://schemas.openxmlformats.org/officeDocument/2006/relationships/slide" Target="slides/slide197.xml"/><Relationship Id="rId243" Type="http://schemas.openxmlformats.org/officeDocument/2006/relationships/slide" Target="slides/slide239.xml"/><Relationship Id="rId285" Type="http://schemas.openxmlformats.org/officeDocument/2006/relationships/slide" Target="slides/slide281.xml"/><Relationship Id="rId450" Type="http://schemas.openxmlformats.org/officeDocument/2006/relationships/slide" Target="slides/slide446.xml"/><Relationship Id="rId506" Type="http://schemas.openxmlformats.org/officeDocument/2006/relationships/slide" Target="slides/slide502.xml"/><Relationship Id="rId38" Type="http://schemas.openxmlformats.org/officeDocument/2006/relationships/slide" Target="slides/slide34.xml"/><Relationship Id="rId103" Type="http://schemas.openxmlformats.org/officeDocument/2006/relationships/slide" Target="slides/slide99.xml"/><Relationship Id="rId310" Type="http://schemas.openxmlformats.org/officeDocument/2006/relationships/slide" Target="slides/slide306.xml"/><Relationship Id="rId492" Type="http://schemas.openxmlformats.org/officeDocument/2006/relationships/slide" Target="slides/slide488.xml"/><Relationship Id="rId548" Type="http://schemas.microsoft.com/office/2015/10/relationships/revisionInfo" Target="revisionInfo.xml"/><Relationship Id="rId91" Type="http://schemas.openxmlformats.org/officeDocument/2006/relationships/slide" Target="slides/slide87.xml"/><Relationship Id="rId145" Type="http://schemas.openxmlformats.org/officeDocument/2006/relationships/slide" Target="slides/slide141.xml"/><Relationship Id="rId187" Type="http://schemas.openxmlformats.org/officeDocument/2006/relationships/slide" Target="slides/slide183.xml"/><Relationship Id="rId352" Type="http://schemas.openxmlformats.org/officeDocument/2006/relationships/slide" Target="slides/slide348.xml"/><Relationship Id="rId394" Type="http://schemas.openxmlformats.org/officeDocument/2006/relationships/slide" Target="slides/slide390.xml"/><Relationship Id="rId408" Type="http://schemas.openxmlformats.org/officeDocument/2006/relationships/slide" Target="slides/slide404.xml"/><Relationship Id="rId212" Type="http://schemas.openxmlformats.org/officeDocument/2006/relationships/slide" Target="slides/slide208.xml"/><Relationship Id="rId254" Type="http://schemas.openxmlformats.org/officeDocument/2006/relationships/slide" Target="slides/slide250.xml"/><Relationship Id="rId49" Type="http://schemas.openxmlformats.org/officeDocument/2006/relationships/slide" Target="slides/slide45.xml"/><Relationship Id="rId114" Type="http://schemas.openxmlformats.org/officeDocument/2006/relationships/slide" Target="slides/slide110.xml"/><Relationship Id="rId296" Type="http://schemas.openxmlformats.org/officeDocument/2006/relationships/slide" Target="slides/slide292.xml"/><Relationship Id="rId461" Type="http://schemas.openxmlformats.org/officeDocument/2006/relationships/slide" Target="slides/slide457.xml"/><Relationship Id="rId517" Type="http://schemas.openxmlformats.org/officeDocument/2006/relationships/slide" Target="slides/slide513.xml"/><Relationship Id="rId60" Type="http://schemas.openxmlformats.org/officeDocument/2006/relationships/slide" Target="slides/slide56.xml"/><Relationship Id="rId156" Type="http://schemas.openxmlformats.org/officeDocument/2006/relationships/slide" Target="slides/slide152.xml"/><Relationship Id="rId198" Type="http://schemas.openxmlformats.org/officeDocument/2006/relationships/slide" Target="slides/slide194.xml"/><Relationship Id="rId321" Type="http://schemas.openxmlformats.org/officeDocument/2006/relationships/slide" Target="slides/slide317.xml"/><Relationship Id="rId363" Type="http://schemas.openxmlformats.org/officeDocument/2006/relationships/slide" Target="slides/slide359.xml"/><Relationship Id="rId419" Type="http://schemas.openxmlformats.org/officeDocument/2006/relationships/slide" Target="slides/slide415.xml"/><Relationship Id="rId223" Type="http://schemas.openxmlformats.org/officeDocument/2006/relationships/slide" Target="slides/slide219.xml"/><Relationship Id="rId430" Type="http://schemas.openxmlformats.org/officeDocument/2006/relationships/slide" Target="slides/slide426.xml"/><Relationship Id="rId18" Type="http://schemas.openxmlformats.org/officeDocument/2006/relationships/slide" Target="slides/slide14.xml"/><Relationship Id="rId265" Type="http://schemas.openxmlformats.org/officeDocument/2006/relationships/slide" Target="slides/slide261.xml"/><Relationship Id="rId472" Type="http://schemas.openxmlformats.org/officeDocument/2006/relationships/slide" Target="slides/slide468.xml"/><Relationship Id="rId528" Type="http://schemas.openxmlformats.org/officeDocument/2006/relationships/slide" Target="slides/slide524.xml"/><Relationship Id="rId125" Type="http://schemas.openxmlformats.org/officeDocument/2006/relationships/slide" Target="slides/slide121.xml"/><Relationship Id="rId167" Type="http://schemas.openxmlformats.org/officeDocument/2006/relationships/slide" Target="slides/slide163.xml"/><Relationship Id="rId332" Type="http://schemas.openxmlformats.org/officeDocument/2006/relationships/slide" Target="slides/slide328.xml"/><Relationship Id="rId374" Type="http://schemas.openxmlformats.org/officeDocument/2006/relationships/slide" Target="slides/slide370.xml"/><Relationship Id="rId71" Type="http://schemas.openxmlformats.org/officeDocument/2006/relationships/slide" Target="slides/slide67.xml"/><Relationship Id="rId234" Type="http://schemas.openxmlformats.org/officeDocument/2006/relationships/slide" Target="slides/slide230.xml"/><Relationship Id="rId2" Type="http://schemas.openxmlformats.org/officeDocument/2006/relationships/customXml" Target="../customXml/item2.xml"/><Relationship Id="rId29" Type="http://schemas.openxmlformats.org/officeDocument/2006/relationships/slide" Target="slides/slide25.xml"/><Relationship Id="rId276" Type="http://schemas.openxmlformats.org/officeDocument/2006/relationships/slide" Target="slides/slide272.xml"/><Relationship Id="rId441" Type="http://schemas.openxmlformats.org/officeDocument/2006/relationships/slide" Target="slides/slide437.xml"/><Relationship Id="rId483" Type="http://schemas.openxmlformats.org/officeDocument/2006/relationships/slide" Target="slides/slide479.xml"/><Relationship Id="rId539" Type="http://schemas.openxmlformats.org/officeDocument/2006/relationships/slide" Target="slides/slide535.xml"/><Relationship Id="rId40" Type="http://schemas.openxmlformats.org/officeDocument/2006/relationships/slide" Target="slides/slide36.xml"/><Relationship Id="rId136" Type="http://schemas.openxmlformats.org/officeDocument/2006/relationships/slide" Target="slides/slide132.xml"/><Relationship Id="rId178" Type="http://schemas.openxmlformats.org/officeDocument/2006/relationships/slide" Target="slides/slide174.xml"/><Relationship Id="rId301" Type="http://schemas.openxmlformats.org/officeDocument/2006/relationships/slide" Target="slides/slide297.xml"/><Relationship Id="rId343" Type="http://schemas.openxmlformats.org/officeDocument/2006/relationships/slide" Target="slides/slide339.xml"/><Relationship Id="rId82" Type="http://schemas.openxmlformats.org/officeDocument/2006/relationships/slide" Target="slides/slide78.xml"/><Relationship Id="rId203" Type="http://schemas.openxmlformats.org/officeDocument/2006/relationships/slide" Target="slides/slide199.xml"/><Relationship Id="rId385" Type="http://schemas.openxmlformats.org/officeDocument/2006/relationships/slide" Target="slides/slide381.xml"/><Relationship Id="rId245" Type="http://schemas.openxmlformats.org/officeDocument/2006/relationships/slide" Target="slides/slide241.xml"/><Relationship Id="rId287" Type="http://schemas.openxmlformats.org/officeDocument/2006/relationships/slide" Target="slides/slide283.xml"/><Relationship Id="rId410" Type="http://schemas.openxmlformats.org/officeDocument/2006/relationships/slide" Target="slides/slide406.xml"/><Relationship Id="rId452" Type="http://schemas.openxmlformats.org/officeDocument/2006/relationships/slide" Target="slides/slide448.xml"/><Relationship Id="rId494" Type="http://schemas.openxmlformats.org/officeDocument/2006/relationships/slide" Target="slides/slide490.xml"/><Relationship Id="rId508" Type="http://schemas.openxmlformats.org/officeDocument/2006/relationships/slide" Target="slides/slide504.xml"/><Relationship Id="rId105" Type="http://schemas.openxmlformats.org/officeDocument/2006/relationships/slide" Target="slides/slide101.xml"/><Relationship Id="rId147" Type="http://schemas.openxmlformats.org/officeDocument/2006/relationships/slide" Target="slides/slide143.xml"/><Relationship Id="rId312" Type="http://schemas.openxmlformats.org/officeDocument/2006/relationships/slide" Target="slides/slide308.xml"/><Relationship Id="rId354" Type="http://schemas.openxmlformats.org/officeDocument/2006/relationships/slide" Target="slides/slide350.xml"/><Relationship Id="rId51" Type="http://schemas.openxmlformats.org/officeDocument/2006/relationships/slide" Target="slides/slide47.xml"/><Relationship Id="rId93" Type="http://schemas.openxmlformats.org/officeDocument/2006/relationships/slide" Target="slides/slide89.xml"/><Relationship Id="rId189" Type="http://schemas.openxmlformats.org/officeDocument/2006/relationships/slide" Target="slides/slide185.xml"/><Relationship Id="rId396" Type="http://schemas.openxmlformats.org/officeDocument/2006/relationships/slide" Target="slides/slide392.xml"/><Relationship Id="rId214" Type="http://schemas.openxmlformats.org/officeDocument/2006/relationships/slide" Target="slides/slide210.xml"/><Relationship Id="rId256" Type="http://schemas.openxmlformats.org/officeDocument/2006/relationships/slide" Target="slides/slide252.xml"/><Relationship Id="rId298" Type="http://schemas.openxmlformats.org/officeDocument/2006/relationships/slide" Target="slides/slide294.xml"/><Relationship Id="rId421" Type="http://schemas.openxmlformats.org/officeDocument/2006/relationships/slide" Target="slides/slide417.xml"/><Relationship Id="rId463" Type="http://schemas.openxmlformats.org/officeDocument/2006/relationships/slide" Target="slides/slide459.xml"/><Relationship Id="rId519" Type="http://schemas.openxmlformats.org/officeDocument/2006/relationships/slide" Target="slides/slide515.xml"/><Relationship Id="rId116" Type="http://schemas.openxmlformats.org/officeDocument/2006/relationships/slide" Target="slides/slide112.xml"/><Relationship Id="rId158" Type="http://schemas.openxmlformats.org/officeDocument/2006/relationships/slide" Target="slides/slide154.xml"/><Relationship Id="rId323" Type="http://schemas.openxmlformats.org/officeDocument/2006/relationships/slide" Target="slides/slide319.xml"/><Relationship Id="rId530" Type="http://schemas.openxmlformats.org/officeDocument/2006/relationships/slide" Target="slides/slide526.xml"/><Relationship Id="rId20" Type="http://schemas.openxmlformats.org/officeDocument/2006/relationships/slide" Target="slides/slide16.xml"/><Relationship Id="rId62" Type="http://schemas.openxmlformats.org/officeDocument/2006/relationships/slide" Target="slides/slide58.xml"/><Relationship Id="rId365" Type="http://schemas.openxmlformats.org/officeDocument/2006/relationships/slide" Target="slides/slide361.xml"/><Relationship Id="rId225" Type="http://schemas.openxmlformats.org/officeDocument/2006/relationships/slide" Target="slides/slide221.xml"/><Relationship Id="rId267" Type="http://schemas.openxmlformats.org/officeDocument/2006/relationships/slide" Target="slides/slide263.xml"/><Relationship Id="rId432" Type="http://schemas.openxmlformats.org/officeDocument/2006/relationships/slide" Target="slides/slide428.xml"/><Relationship Id="rId474" Type="http://schemas.openxmlformats.org/officeDocument/2006/relationships/slide" Target="slides/slide470.xml"/><Relationship Id="rId127" Type="http://schemas.openxmlformats.org/officeDocument/2006/relationships/slide" Target="slides/slide123.xml"/><Relationship Id="rId31" Type="http://schemas.openxmlformats.org/officeDocument/2006/relationships/slide" Target="slides/slide27.xml"/><Relationship Id="rId73" Type="http://schemas.openxmlformats.org/officeDocument/2006/relationships/slide" Target="slides/slide69.xml"/><Relationship Id="rId169" Type="http://schemas.openxmlformats.org/officeDocument/2006/relationships/slide" Target="slides/slide165.xml"/><Relationship Id="rId334" Type="http://schemas.openxmlformats.org/officeDocument/2006/relationships/slide" Target="slides/slide330.xml"/><Relationship Id="rId376" Type="http://schemas.openxmlformats.org/officeDocument/2006/relationships/slide" Target="slides/slide372.xml"/><Relationship Id="rId541" Type="http://schemas.openxmlformats.org/officeDocument/2006/relationships/slide" Target="slides/slide537.xml"/><Relationship Id="rId4" Type="http://schemas.openxmlformats.org/officeDocument/2006/relationships/slideMaster" Target="slideMasters/slideMaster1.xml"/><Relationship Id="rId180" Type="http://schemas.openxmlformats.org/officeDocument/2006/relationships/slide" Target="slides/slide176.xml"/><Relationship Id="rId236" Type="http://schemas.openxmlformats.org/officeDocument/2006/relationships/slide" Target="slides/slide232.xml"/><Relationship Id="rId278" Type="http://schemas.openxmlformats.org/officeDocument/2006/relationships/slide" Target="slides/slide274.xml"/><Relationship Id="rId401" Type="http://schemas.openxmlformats.org/officeDocument/2006/relationships/slide" Target="slides/slide397.xml"/><Relationship Id="rId443" Type="http://schemas.openxmlformats.org/officeDocument/2006/relationships/slide" Target="slides/slide439.xml"/><Relationship Id="rId303" Type="http://schemas.openxmlformats.org/officeDocument/2006/relationships/slide" Target="slides/slide299.xml"/><Relationship Id="rId485" Type="http://schemas.openxmlformats.org/officeDocument/2006/relationships/slide" Target="slides/slide481.xml"/><Relationship Id="rId42" Type="http://schemas.openxmlformats.org/officeDocument/2006/relationships/slide" Target="slides/slide38.xml"/><Relationship Id="rId84" Type="http://schemas.openxmlformats.org/officeDocument/2006/relationships/slide" Target="slides/slide80.xml"/><Relationship Id="rId138" Type="http://schemas.openxmlformats.org/officeDocument/2006/relationships/slide" Target="slides/slide134.xml"/><Relationship Id="rId345" Type="http://schemas.openxmlformats.org/officeDocument/2006/relationships/slide" Target="slides/slide341.xml"/><Relationship Id="rId387" Type="http://schemas.openxmlformats.org/officeDocument/2006/relationships/slide" Target="slides/slide383.xml"/><Relationship Id="rId510" Type="http://schemas.openxmlformats.org/officeDocument/2006/relationships/slide" Target="slides/slide506.xml"/><Relationship Id="rId191" Type="http://schemas.openxmlformats.org/officeDocument/2006/relationships/slide" Target="slides/slide187.xml"/><Relationship Id="rId205" Type="http://schemas.openxmlformats.org/officeDocument/2006/relationships/slide" Target="slides/slide201.xml"/><Relationship Id="rId247" Type="http://schemas.openxmlformats.org/officeDocument/2006/relationships/slide" Target="slides/slide243.xml"/><Relationship Id="rId412" Type="http://schemas.openxmlformats.org/officeDocument/2006/relationships/slide" Target="slides/slide408.xml"/><Relationship Id="rId107" Type="http://schemas.openxmlformats.org/officeDocument/2006/relationships/slide" Target="slides/slide103.xml"/><Relationship Id="rId289" Type="http://schemas.openxmlformats.org/officeDocument/2006/relationships/slide" Target="slides/slide285.xml"/><Relationship Id="rId454" Type="http://schemas.openxmlformats.org/officeDocument/2006/relationships/slide" Target="slides/slide450.xml"/><Relationship Id="rId496" Type="http://schemas.openxmlformats.org/officeDocument/2006/relationships/slide" Target="slides/slide492.xml"/><Relationship Id="rId11" Type="http://schemas.openxmlformats.org/officeDocument/2006/relationships/slide" Target="slides/slide7.xml"/><Relationship Id="rId53" Type="http://schemas.openxmlformats.org/officeDocument/2006/relationships/slide" Target="slides/slide49.xml"/><Relationship Id="rId149" Type="http://schemas.openxmlformats.org/officeDocument/2006/relationships/slide" Target="slides/slide145.xml"/><Relationship Id="rId314" Type="http://schemas.openxmlformats.org/officeDocument/2006/relationships/slide" Target="slides/slide310.xml"/><Relationship Id="rId356" Type="http://schemas.openxmlformats.org/officeDocument/2006/relationships/slide" Target="slides/slide352.xml"/><Relationship Id="rId398" Type="http://schemas.openxmlformats.org/officeDocument/2006/relationships/slide" Target="slides/slide394.xml"/><Relationship Id="rId521" Type="http://schemas.openxmlformats.org/officeDocument/2006/relationships/slide" Target="slides/slide517.xml"/><Relationship Id="rId95" Type="http://schemas.openxmlformats.org/officeDocument/2006/relationships/slide" Target="slides/slide91.xml"/><Relationship Id="rId160" Type="http://schemas.openxmlformats.org/officeDocument/2006/relationships/slide" Target="slides/slide156.xml"/><Relationship Id="rId216" Type="http://schemas.openxmlformats.org/officeDocument/2006/relationships/slide" Target="slides/slide212.xml"/><Relationship Id="rId423" Type="http://schemas.openxmlformats.org/officeDocument/2006/relationships/slide" Target="slides/slide419.xml"/><Relationship Id="rId258" Type="http://schemas.openxmlformats.org/officeDocument/2006/relationships/slide" Target="slides/slide254.xml"/><Relationship Id="rId465" Type="http://schemas.openxmlformats.org/officeDocument/2006/relationships/slide" Target="slides/slide461.xml"/><Relationship Id="rId22" Type="http://schemas.openxmlformats.org/officeDocument/2006/relationships/slide" Target="slides/slide18.xml"/><Relationship Id="rId64" Type="http://schemas.openxmlformats.org/officeDocument/2006/relationships/slide" Target="slides/slide60.xml"/><Relationship Id="rId118" Type="http://schemas.openxmlformats.org/officeDocument/2006/relationships/slide" Target="slides/slide114.xml"/><Relationship Id="rId325" Type="http://schemas.openxmlformats.org/officeDocument/2006/relationships/slide" Target="slides/slide321.xml"/><Relationship Id="rId367" Type="http://schemas.openxmlformats.org/officeDocument/2006/relationships/slide" Target="slides/slide363.xml"/><Relationship Id="rId532" Type="http://schemas.openxmlformats.org/officeDocument/2006/relationships/slide" Target="slides/slide528.xml"/><Relationship Id="rId171" Type="http://schemas.openxmlformats.org/officeDocument/2006/relationships/slide" Target="slides/slide167.xml"/><Relationship Id="rId227" Type="http://schemas.openxmlformats.org/officeDocument/2006/relationships/slide" Target="slides/slide223.xml"/><Relationship Id="rId269" Type="http://schemas.openxmlformats.org/officeDocument/2006/relationships/slide" Target="slides/slide265.xml"/><Relationship Id="rId434" Type="http://schemas.openxmlformats.org/officeDocument/2006/relationships/slide" Target="slides/slide430.xml"/><Relationship Id="rId476" Type="http://schemas.openxmlformats.org/officeDocument/2006/relationships/slide" Target="slides/slide472.xml"/><Relationship Id="rId33" Type="http://schemas.openxmlformats.org/officeDocument/2006/relationships/slide" Target="slides/slide29.xml"/><Relationship Id="rId129" Type="http://schemas.openxmlformats.org/officeDocument/2006/relationships/slide" Target="slides/slide125.xml"/><Relationship Id="rId280" Type="http://schemas.openxmlformats.org/officeDocument/2006/relationships/slide" Target="slides/slide276.xml"/><Relationship Id="rId336" Type="http://schemas.openxmlformats.org/officeDocument/2006/relationships/slide" Target="slides/slide332.xml"/><Relationship Id="rId501" Type="http://schemas.openxmlformats.org/officeDocument/2006/relationships/slide" Target="slides/slide497.xml"/><Relationship Id="rId543" Type="http://schemas.openxmlformats.org/officeDocument/2006/relationships/notesMaster" Target="notesMasters/notesMaster1.xml"/><Relationship Id="rId75" Type="http://schemas.openxmlformats.org/officeDocument/2006/relationships/slide" Target="slides/slide71.xml"/><Relationship Id="rId140" Type="http://schemas.openxmlformats.org/officeDocument/2006/relationships/slide" Target="slides/slide136.xml"/><Relationship Id="rId182" Type="http://schemas.openxmlformats.org/officeDocument/2006/relationships/slide" Target="slides/slide178.xml"/><Relationship Id="rId378" Type="http://schemas.openxmlformats.org/officeDocument/2006/relationships/slide" Target="slides/slide374.xml"/><Relationship Id="rId403" Type="http://schemas.openxmlformats.org/officeDocument/2006/relationships/slide" Target="slides/slide399.xml"/><Relationship Id="rId6" Type="http://schemas.openxmlformats.org/officeDocument/2006/relationships/slide" Target="slides/slide2.xml"/><Relationship Id="rId238" Type="http://schemas.openxmlformats.org/officeDocument/2006/relationships/slide" Target="slides/slide234.xml"/><Relationship Id="rId445" Type="http://schemas.openxmlformats.org/officeDocument/2006/relationships/slide" Target="slides/slide441.xml"/><Relationship Id="rId487" Type="http://schemas.openxmlformats.org/officeDocument/2006/relationships/slide" Target="slides/slide483.xml"/><Relationship Id="rId291" Type="http://schemas.openxmlformats.org/officeDocument/2006/relationships/slide" Target="slides/slide287.xml"/><Relationship Id="rId305" Type="http://schemas.openxmlformats.org/officeDocument/2006/relationships/slide" Target="slides/slide301.xml"/><Relationship Id="rId347" Type="http://schemas.openxmlformats.org/officeDocument/2006/relationships/slide" Target="slides/slide343.xml"/><Relationship Id="rId512" Type="http://schemas.openxmlformats.org/officeDocument/2006/relationships/slide" Target="slides/slide508.xml"/><Relationship Id="rId44" Type="http://schemas.openxmlformats.org/officeDocument/2006/relationships/slide" Target="slides/slide40.xml"/><Relationship Id="rId86" Type="http://schemas.openxmlformats.org/officeDocument/2006/relationships/slide" Target="slides/slide82.xml"/><Relationship Id="rId151" Type="http://schemas.openxmlformats.org/officeDocument/2006/relationships/slide" Target="slides/slide147.xml"/><Relationship Id="rId389" Type="http://schemas.openxmlformats.org/officeDocument/2006/relationships/slide" Target="slides/slide385.xml"/><Relationship Id="rId193" Type="http://schemas.openxmlformats.org/officeDocument/2006/relationships/slide" Target="slides/slide189.xml"/><Relationship Id="rId207" Type="http://schemas.openxmlformats.org/officeDocument/2006/relationships/slide" Target="slides/slide203.xml"/><Relationship Id="rId249" Type="http://schemas.openxmlformats.org/officeDocument/2006/relationships/slide" Target="slides/slide245.xml"/><Relationship Id="rId414" Type="http://schemas.openxmlformats.org/officeDocument/2006/relationships/slide" Target="slides/slide410.xml"/><Relationship Id="rId456" Type="http://schemas.openxmlformats.org/officeDocument/2006/relationships/slide" Target="slides/slide452.xml"/><Relationship Id="rId498" Type="http://schemas.openxmlformats.org/officeDocument/2006/relationships/slide" Target="slides/slide494.xml"/><Relationship Id="rId13" Type="http://schemas.openxmlformats.org/officeDocument/2006/relationships/slide" Target="slides/slide9.xml"/><Relationship Id="rId109" Type="http://schemas.openxmlformats.org/officeDocument/2006/relationships/slide" Target="slides/slide105.xml"/><Relationship Id="rId260" Type="http://schemas.openxmlformats.org/officeDocument/2006/relationships/slide" Target="slides/slide256.xml"/><Relationship Id="rId316" Type="http://schemas.openxmlformats.org/officeDocument/2006/relationships/slide" Target="slides/slide312.xml"/><Relationship Id="rId523" Type="http://schemas.openxmlformats.org/officeDocument/2006/relationships/slide" Target="slides/slide519.xml"/><Relationship Id="rId55" Type="http://schemas.openxmlformats.org/officeDocument/2006/relationships/slide" Target="slides/slide51.xml"/><Relationship Id="rId97" Type="http://schemas.openxmlformats.org/officeDocument/2006/relationships/slide" Target="slides/slide93.xml"/><Relationship Id="rId120" Type="http://schemas.openxmlformats.org/officeDocument/2006/relationships/slide" Target="slides/slide116.xml"/><Relationship Id="rId358" Type="http://schemas.openxmlformats.org/officeDocument/2006/relationships/slide" Target="slides/slide354.xml"/><Relationship Id="rId162" Type="http://schemas.openxmlformats.org/officeDocument/2006/relationships/slide" Target="slides/slide158.xml"/><Relationship Id="rId218" Type="http://schemas.openxmlformats.org/officeDocument/2006/relationships/slide" Target="slides/slide214.xml"/><Relationship Id="rId425" Type="http://schemas.openxmlformats.org/officeDocument/2006/relationships/slide" Target="slides/slide421.xml"/><Relationship Id="rId467" Type="http://schemas.openxmlformats.org/officeDocument/2006/relationships/slide" Target="slides/slide463.xml"/><Relationship Id="rId271" Type="http://schemas.openxmlformats.org/officeDocument/2006/relationships/slide" Target="slides/slide267.xml"/><Relationship Id="rId24" Type="http://schemas.openxmlformats.org/officeDocument/2006/relationships/slide" Target="slides/slide20.xml"/><Relationship Id="rId66" Type="http://schemas.openxmlformats.org/officeDocument/2006/relationships/slide" Target="slides/slide62.xml"/><Relationship Id="rId131" Type="http://schemas.openxmlformats.org/officeDocument/2006/relationships/slide" Target="slides/slide127.xml"/><Relationship Id="rId327" Type="http://schemas.openxmlformats.org/officeDocument/2006/relationships/slide" Target="slides/slide323.xml"/><Relationship Id="rId369" Type="http://schemas.openxmlformats.org/officeDocument/2006/relationships/slide" Target="slides/slide365.xml"/><Relationship Id="rId534" Type="http://schemas.openxmlformats.org/officeDocument/2006/relationships/slide" Target="slides/slide530.xml"/><Relationship Id="rId173" Type="http://schemas.openxmlformats.org/officeDocument/2006/relationships/slide" Target="slides/slide169.xml"/><Relationship Id="rId229" Type="http://schemas.openxmlformats.org/officeDocument/2006/relationships/slide" Target="slides/slide225.xml"/><Relationship Id="rId380" Type="http://schemas.openxmlformats.org/officeDocument/2006/relationships/slide" Target="slides/slide376.xml"/><Relationship Id="rId436" Type="http://schemas.openxmlformats.org/officeDocument/2006/relationships/slide" Target="slides/slide432.xml"/><Relationship Id="rId240" Type="http://schemas.openxmlformats.org/officeDocument/2006/relationships/slide" Target="slides/slide236.xml"/><Relationship Id="rId478" Type="http://schemas.openxmlformats.org/officeDocument/2006/relationships/slide" Target="slides/slide474.xml"/><Relationship Id="rId35" Type="http://schemas.openxmlformats.org/officeDocument/2006/relationships/slide" Target="slides/slide31.xml"/><Relationship Id="rId77" Type="http://schemas.openxmlformats.org/officeDocument/2006/relationships/slide" Target="slides/slide73.xml"/><Relationship Id="rId100" Type="http://schemas.openxmlformats.org/officeDocument/2006/relationships/slide" Target="slides/slide96.xml"/><Relationship Id="rId282" Type="http://schemas.openxmlformats.org/officeDocument/2006/relationships/slide" Target="slides/slide278.xml"/><Relationship Id="rId338" Type="http://schemas.openxmlformats.org/officeDocument/2006/relationships/slide" Target="slides/slide334.xml"/><Relationship Id="rId503" Type="http://schemas.openxmlformats.org/officeDocument/2006/relationships/slide" Target="slides/slide499.xml"/><Relationship Id="rId545" Type="http://schemas.openxmlformats.org/officeDocument/2006/relationships/viewProps" Target="viewProps.xml"/><Relationship Id="rId8" Type="http://schemas.openxmlformats.org/officeDocument/2006/relationships/slide" Target="slides/slide4.xml"/><Relationship Id="rId142" Type="http://schemas.openxmlformats.org/officeDocument/2006/relationships/slide" Target="slides/slide138.xml"/><Relationship Id="rId184" Type="http://schemas.openxmlformats.org/officeDocument/2006/relationships/slide" Target="slides/slide180.xml"/><Relationship Id="rId391" Type="http://schemas.openxmlformats.org/officeDocument/2006/relationships/slide" Target="slides/slide387.xml"/><Relationship Id="rId405" Type="http://schemas.openxmlformats.org/officeDocument/2006/relationships/slide" Target="slides/slide401.xml"/><Relationship Id="rId447" Type="http://schemas.openxmlformats.org/officeDocument/2006/relationships/slide" Target="slides/slide443.xml"/><Relationship Id="rId251" Type="http://schemas.openxmlformats.org/officeDocument/2006/relationships/slide" Target="slides/slide247.xml"/><Relationship Id="rId489" Type="http://schemas.openxmlformats.org/officeDocument/2006/relationships/slide" Target="slides/slide485.xml"/><Relationship Id="rId46" Type="http://schemas.openxmlformats.org/officeDocument/2006/relationships/slide" Target="slides/slide42.xml"/><Relationship Id="rId293" Type="http://schemas.openxmlformats.org/officeDocument/2006/relationships/slide" Target="slides/slide289.xml"/><Relationship Id="rId307" Type="http://schemas.openxmlformats.org/officeDocument/2006/relationships/slide" Target="slides/slide303.xml"/><Relationship Id="rId349" Type="http://schemas.openxmlformats.org/officeDocument/2006/relationships/slide" Target="slides/slide345.xml"/><Relationship Id="rId514" Type="http://schemas.openxmlformats.org/officeDocument/2006/relationships/slide" Target="slides/slide510.xml"/><Relationship Id="rId88" Type="http://schemas.openxmlformats.org/officeDocument/2006/relationships/slide" Target="slides/slide84.xml"/><Relationship Id="rId111" Type="http://schemas.openxmlformats.org/officeDocument/2006/relationships/slide" Target="slides/slide107.xml"/><Relationship Id="rId153" Type="http://schemas.openxmlformats.org/officeDocument/2006/relationships/slide" Target="slides/slide149.xml"/><Relationship Id="rId195" Type="http://schemas.openxmlformats.org/officeDocument/2006/relationships/slide" Target="slides/slide191.xml"/><Relationship Id="rId209" Type="http://schemas.openxmlformats.org/officeDocument/2006/relationships/slide" Target="slides/slide205.xml"/><Relationship Id="rId360" Type="http://schemas.openxmlformats.org/officeDocument/2006/relationships/slide" Target="slides/slide356.xml"/><Relationship Id="rId416" Type="http://schemas.openxmlformats.org/officeDocument/2006/relationships/slide" Target="slides/slide412.xml"/><Relationship Id="rId220" Type="http://schemas.openxmlformats.org/officeDocument/2006/relationships/slide" Target="slides/slide216.xml"/><Relationship Id="rId458" Type="http://schemas.openxmlformats.org/officeDocument/2006/relationships/slide" Target="slides/slide454.xml"/><Relationship Id="rId15" Type="http://schemas.openxmlformats.org/officeDocument/2006/relationships/slide" Target="slides/slide11.xml"/><Relationship Id="rId57" Type="http://schemas.openxmlformats.org/officeDocument/2006/relationships/slide" Target="slides/slide53.xml"/><Relationship Id="rId262" Type="http://schemas.openxmlformats.org/officeDocument/2006/relationships/slide" Target="slides/slide258.xml"/><Relationship Id="rId318" Type="http://schemas.openxmlformats.org/officeDocument/2006/relationships/slide" Target="slides/slide314.xml"/><Relationship Id="rId525" Type="http://schemas.openxmlformats.org/officeDocument/2006/relationships/slide" Target="slides/slide521.xml"/><Relationship Id="rId99" Type="http://schemas.openxmlformats.org/officeDocument/2006/relationships/slide" Target="slides/slide95.xml"/><Relationship Id="rId122" Type="http://schemas.openxmlformats.org/officeDocument/2006/relationships/slide" Target="slides/slide118.xml"/><Relationship Id="rId164" Type="http://schemas.openxmlformats.org/officeDocument/2006/relationships/slide" Target="slides/slide160.xml"/><Relationship Id="rId371" Type="http://schemas.openxmlformats.org/officeDocument/2006/relationships/slide" Target="slides/slide367.xml"/><Relationship Id="rId427" Type="http://schemas.openxmlformats.org/officeDocument/2006/relationships/slide" Target="slides/slide423.xml"/><Relationship Id="rId469" Type="http://schemas.openxmlformats.org/officeDocument/2006/relationships/slide" Target="slides/slide465.xml"/><Relationship Id="rId26" Type="http://schemas.openxmlformats.org/officeDocument/2006/relationships/slide" Target="slides/slide22.xml"/><Relationship Id="rId231" Type="http://schemas.openxmlformats.org/officeDocument/2006/relationships/slide" Target="slides/slide227.xml"/><Relationship Id="rId273" Type="http://schemas.openxmlformats.org/officeDocument/2006/relationships/slide" Target="slides/slide269.xml"/><Relationship Id="rId329" Type="http://schemas.openxmlformats.org/officeDocument/2006/relationships/slide" Target="slides/slide325.xml"/><Relationship Id="rId480" Type="http://schemas.openxmlformats.org/officeDocument/2006/relationships/slide" Target="slides/slide476.xml"/><Relationship Id="rId536" Type="http://schemas.openxmlformats.org/officeDocument/2006/relationships/slide" Target="slides/slide532.xml"/><Relationship Id="rId68" Type="http://schemas.openxmlformats.org/officeDocument/2006/relationships/slide" Target="slides/slide64.xml"/><Relationship Id="rId133" Type="http://schemas.openxmlformats.org/officeDocument/2006/relationships/slide" Target="slides/slide129.xml"/><Relationship Id="rId175" Type="http://schemas.openxmlformats.org/officeDocument/2006/relationships/slide" Target="slides/slide171.xml"/><Relationship Id="rId340" Type="http://schemas.openxmlformats.org/officeDocument/2006/relationships/slide" Target="slides/slide336.xml"/><Relationship Id="rId200" Type="http://schemas.openxmlformats.org/officeDocument/2006/relationships/slide" Target="slides/slide196.xml"/><Relationship Id="rId382" Type="http://schemas.openxmlformats.org/officeDocument/2006/relationships/slide" Target="slides/slide378.xml"/><Relationship Id="rId438" Type="http://schemas.openxmlformats.org/officeDocument/2006/relationships/slide" Target="slides/slide434.xml"/><Relationship Id="rId242" Type="http://schemas.openxmlformats.org/officeDocument/2006/relationships/slide" Target="slides/slide238.xml"/><Relationship Id="rId284" Type="http://schemas.openxmlformats.org/officeDocument/2006/relationships/slide" Target="slides/slide280.xml"/><Relationship Id="rId491" Type="http://schemas.openxmlformats.org/officeDocument/2006/relationships/slide" Target="slides/slide487.xml"/><Relationship Id="rId505" Type="http://schemas.openxmlformats.org/officeDocument/2006/relationships/slide" Target="slides/slide501.xml"/><Relationship Id="rId37" Type="http://schemas.openxmlformats.org/officeDocument/2006/relationships/slide" Target="slides/slide33.xml"/><Relationship Id="rId79" Type="http://schemas.openxmlformats.org/officeDocument/2006/relationships/slide" Target="slides/slide75.xml"/><Relationship Id="rId102" Type="http://schemas.openxmlformats.org/officeDocument/2006/relationships/slide" Target="slides/slide98.xml"/><Relationship Id="rId144" Type="http://schemas.openxmlformats.org/officeDocument/2006/relationships/slide" Target="slides/slide140.xml"/><Relationship Id="rId547" Type="http://schemas.openxmlformats.org/officeDocument/2006/relationships/tableStyles" Target="tableStyles.xml"/><Relationship Id="rId90" Type="http://schemas.openxmlformats.org/officeDocument/2006/relationships/slide" Target="slides/slide86.xml"/><Relationship Id="rId186" Type="http://schemas.openxmlformats.org/officeDocument/2006/relationships/slide" Target="slides/slide182.xml"/><Relationship Id="rId351" Type="http://schemas.openxmlformats.org/officeDocument/2006/relationships/slide" Target="slides/slide347.xml"/><Relationship Id="rId393" Type="http://schemas.openxmlformats.org/officeDocument/2006/relationships/slide" Target="slides/slide389.xml"/><Relationship Id="rId407" Type="http://schemas.openxmlformats.org/officeDocument/2006/relationships/slide" Target="slides/slide403.xml"/><Relationship Id="rId449" Type="http://schemas.openxmlformats.org/officeDocument/2006/relationships/slide" Target="slides/slide445.xml"/><Relationship Id="rId211" Type="http://schemas.openxmlformats.org/officeDocument/2006/relationships/slide" Target="slides/slide207.xml"/><Relationship Id="rId253" Type="http://schemas.openxmlformats.org/officeDocument/2006/relationships/slide" Target="slides/slide249.xml"/><Relationship Id="rId295" Type="http://schemas.openxmlformats.org/officeDocument/2006/relationships/slide" Target="slides/slide291.xml"/><Relationship Id="rId309" Type="http://schemas.openxmlformats.org/officeDocument/2006/relationships/slide" Target="slides/slide305.xml"/><Relationship Id="rId460" Type="http://schemas.openxmlformats.org/officeDocument/2006/relationships/slide" Target="slides/slide456.xml"/><Relationship Id="rId516" Type="http://schemas.openxmlformats.org/officeDocument/2006/relationships/slide" Target="slides/slide512.xml"/><Relationship Id="rId48" Type="http://schemas.openxmlformats.org/officeDocument/2006/relationships/slide" Target="slides/slide44.xml"/><Relationship Id="rId113" Type="http://schemas.openxmlformats.org/officeDocument/2006/relationships/slide" Target="slides/slide109.xml"/><Relationship Id="rId320" Type="http://schemas.openxmlformats.org/officeDocument/2006/relationships/slide" Target="slides/slide316.xml"/><Relationship Id="rId155" Type="http://schemas.openxmlformats.org/officeDocument/2006/relationships/slide" Target="slides/slide151.xml"/><Relationship Id="rId197" Type="http://schemas.openxmlformats.org/officeDocument/2006/relationships/slide" Target="slides/slide193.xml"/><Relationship Id="rId362" Type="http://schemas.openxmlformats.org/officeDocument/2006/relationships/slide" Target="slides/slide358.xml"/><Relationship Id="rId418" Type="http://schemas.openxmlformats.org/officeDocument/2006/relationships/slide" Target="slides/slide414.xml"/><Relationship Id="rId222" Type="http://schemas.openxmlformats.org/officeDocument/2006/relationships/slide" Target="slides/slide218.xml"/><Relationship Id="rId264" Type="http://schemas.openxmlformats.org/officeDocument/2006/relationships/slide" Target="slides/slide260.xml"/><Relationship Id="rId471" Type="http://schemas.openxmlformats.org/officeDocument/2006/relationships/slide" Target="slides/slide467.xml"/><Relationship Id="rId17" Type="http://schemas.openxmlformats.org/officeDocument/2006/relationships/slide" Target="slides/slide13.xml"/><Relationship Id="rId59" Type="http://schemas.openxmlformats.org/officeDocument/2006/relationships/slide" Target="slides/slide55.xml"/><Relationship Id="rId124" Type="http://schemas.openxmlformats.org/officeDocument/2006/relationships/slide" Target="slides/slide120.xml"/><Relationship Id="rId527" Type="http://schemas.openxmlformats.org/officeDocument/2006/relationships/slide" Target="slides/slide523.xml"/><Relationship Id="rId70" Type="http://schemas.openxmlformats.org/officeDocument/2006/relationships/slide" Target="slides/slide66.xml"/><Relationship Id="rId166" Type="http://schemas.openxmlformats.org/officeDocument/2006/relationships/slide" Target="slides/slide162.xml"/><Relationship Id="rId331" Type="http://schemas.openxmlformats.org/officeDocument/2006/relationships/slide" Target="slides/slide327.xml"/><Relationship Id="rId373" Type="http://schemas.openxmlformats.org/officeDocument/2006/relationships/slide" Target="slides/slide369.xml"/><Relationship Id="rId429" Type="http://schemas.openxmlformats.org/officeDocument/2006/relationships/slide" Target="slides/slide425.xml"/><Relationship Id="rId1" Type="http://schemas.openxmlformats.org/officeDocument/2006/relationships/customXml" Target="../customXml/item1.xml"/><Relationship Id="rId233" Type="http://schemas.openxmlformats.org/officeDocument/2006/relationships/slide" Target="slides/slide229.xml"/><Relationship Id="rId440" Type="http://schemas.openxmlformats.org/officeDocument/2006/relationships/slide" Target="slides/slide436.xml"/><Relationship Id="rId28" Type="http://schemas.openxmlformats.org/officeDocument/2006/relationships/slide" Target="slides/slide24.xml"/><Relationship Id="rId275" Type="http://schemas.openxmlformats.org/officeDocument/2006/relationships/slide" Target="slides/slide271.xml"/><Relationship Id="rId300" Type="http://schemas.openxmlformats.org/officeDocument/2006/relationships/slide" Target="slides/slide296.xml"/><Relationship Id="rId482" Type="http://schemas.openxmlformats.org/officeDocument/2006/relationships/slide" Target="slides/slide478.xml"/><Relationship Id="rId538" Type="http://schemas.openxmlformats.org/officeDocument/2006/relationships/slide" Target="slides/slide534.xml"/><Relationship Id="rId81" Type="http://schemas.openxmlformats.org/officeDocument/2006/relationships/slide" Target="slides/slide77.xml"/><Relationship Id="rId135" Type="http://schemas.openxmlformats.org/officeDocument/2006/relationships/slide" Target="slides/slide131.xml"/><Relationship Id="rId177" Type="http://schemas.openxmlformats.org/officeDocument/2006/relationships/slide" Target="slides/slide173.xml"/><Relationship Id="rId342" Type="http://schemas.openxmlformats.org/officeDocument/2006/relationships/slide" Target="slides/slide338.xml"/><Relationship Id="rId384" Type="http://schemas.openxmlformats.org/officeDocument/2006/relationships/slide" Target="slides/slide380.xml"/><Relationship Id="rId202" Type="http://schemas.openxmlformats.org/officeDocument/2006/relationships/slide" Target="slides/slide198.xml"/><Relationship Id="rId244" Type="http://schemas.openxmlformats.org/officeDocument/2006/relationships/slide" Target="slides/slide240.xml"/><Relationship Id="rId39" Type="http://schemas.openxmlformats.org/officeDocument/2006/relationships/slide" Target="slides/slide35.xml"/><Relationship Id="rId286" Type="http://schemas.openxmlformats.org/officeDocument/2006/relationships/slide" Target="slides/slide282.xml"/><Relationship Id="rId451" Type="http://schemas.openxmlformats.org/officeDocument/2006/relationships/slide" Target="slides/slide447.xml"/><Relationship Id="rId493" Type="http://schemas.openxmlformats.org/officeDocument/2006/relationships/slide" Target="slides/slide489.xml"/><Relationship Id="rId507" Type="http://schemas.openxmlformats.org/officeDocument/2006/relationships/slide" Target="slides/slide503.xml"/><Relationship Id="rId50" Type="http://schemas.openxmlformats.org/officeDocument/2006/relationships/slide" Target="slides/slide46.xml"/><Relationship Id="rId104" Type="http://schemas.openxmlformats.org/officeDocument/2006/relationships/slide" Target="slides/slide100.xml"/><Relationship Id="rId146" Type="http://schemas.openxmlformats.org/officeDocument/2006/relationships/slide" Target="slides/slide142.xml"/><Relationship Id="rId188" Type="http://schemas.openxmlformats.org/officeDocument/2006/relationships/slide" Target="slides/slide184.xml"/><Relationship Id="rId311" Type="http://schemas.openxmlformats.org/officeDocument/2006/relationships/slide" Target="slides/slide307.xml"/><Relationship Id="rId353" Type="http://schemas.openxmlformats.org/officeDocument/2006/relationships/slide" Target="slides/slide349.xml"/><Relationship Id="rId395" Type="http://schemas.openxmlformats.org/officeDocument/2006/relationships/slide" Target="slides/slide391.xml"/><Relationship Id="rId409" Type="http://schemas.openxmlformats.org/officeDocument/2006/relationships/slide" Target="slides/slide405.xml"/><Relationship Id="rId92" Type="http://schemas.openxmlformats.org/officeDocument/2006/relationships/slide" Target="slides/slide88.xml"/><Relationship Id="rId213" Type="http://schemas.openxmlformats.org/officeDocument/2006/relationships/slide" Target="slides/slide209.xml"/><Relationship Id="rId420" Type="http://schemas.openxmlformats.org/officeDocument/2006/relationships/slide" Target="slides/slide416.xml"/><Relationship Id="rId255" Type="http://schemas.openxmlformats.org/officeDocument/2006/relationships/slide" Target="slides/slide251.xml"/><Relationship Id="rId297" Type="http://schemas.openxmlformats.org/officeDocument/2006/relationships/slide" Target="slides/slide293.xml"/><Relationship Id="rId462" Type="http://schemas.openxmlformats.org/officeDocument/2006/relationships/slide" Target="slides/slide458.xml"/><Relationship Id="rId518" Type="http://schemas.openxmlformats.org/officeDocument/2006/relationships/slide" Target="slides/slide514.xml"/><Relationship Id="rId115" Type="http://schemas.openxmlformats.org/officeDocument/2006/relationships/slide" Target="slides/slide111.xml"/><Relationship Id="rId157" Type="http://schemas.openxmlformats.org/officeDocument/2006/relationships/slide" Target="slides/slide153.xml"/><Relationship Id="rId322" Type="http://schemas.openxmlformats.org/officeDocument/2006/relationships/slide" Target="slides/slide318.xml"/><Relationship Id="rId364" Type="http://schemas.openxmlformats.org/officeDocument/2006/relationships/slide" Target="slides/slide360.xml"/><Relationship Id="rId61" Type="http://schemas.openxmlformats.org/officeDocument/2006/relationships/slide" Target="slides/slide57.xml"/><Relationship Id="rId199" Type="http://schemas.openxmlformats.org/officeDocument/2006/relationships/slide" Target="slides/slide195.xml"/><Relationship Id="rId19" Type="http://schemas.openxmlformats.org/officeDocument/2006/relationships/slide" Target="slides/slide15.xml"/><Relationship Id="rId224" Type="http://schemas.openxmlformats.org/officeDocument/2006/relationships/slide" Target="slides/slide220.xml"/><Relationship Id="rId266" Type="http://schemas.openxmlformats.org/officeDocument/2006/relationships/slide" Target="slides/slide262.xml"/><Relationship Id="rId431" Type="http://schemas.openxmlformats.org/officeDocument/2006/relationships/slide" Target="slides/slide427.xml"/><Relationship Id="rId473" Type="http://schemas.openxmlformats.org/officeDocument/2006/relationships/slide" Target="slides/slide469.xml"/><Relationship Id="rId529" Type="http://schemas.openxmlformats.org/officeDocument/2006/relationships/slide" Target="slides/slide525.xml"/><Relationship Id="rId30" Type="http://schemas.openxmlformats.org/officeDocument/2006/relationships/slide" Target="slides/slide26.xml"/><Relationship Id="rId126" Type="http://schemas.openxmlformats.org/officeDocument/2006/relationships/slide" Target="slides/slide122.xml"/><Relationship Id="rId168" Type="http://schemas.openxmlformats.org/officeDocument/2006/relationships/slide" Target="slides/slide164.xml"/><Relationship Id="rId333" Type="http://schemas.openxmlformats.org/officeDocument/2006/relationships/slide" Target="slides/slide329.xml"/><Relationship Id="rId540" Type="http://schemas.openxmlformats.org/officeDocument/2006/relationships/slide" Target="slides/slide536.xml"/><Relationship Id="rId72" Type="http://schemas.openxmlformats.org/officeDocument/2006/relationships/slide" Target="slides/slide68.xml"/><Relationship Id="rId375" Type="http://schemas.openxmlformats.org/officeDocument/2006/relationships/slide" Target="slides/slide371.xml"/><Relationship Id="rId3" Type="http://schemas.openxmlformats.org/officeDocument/2006/relationships/customXml" Target="../customXml/item3.xml"/><Relationship Id="rId235" Type="http://schemas.openxmlformats.org/officeDocument/2006/relationships/slide" Target="slides/slide231.xml"/><Relationship Id="rId277" Type="http://schemas.openxmlformats.org/officeDocument/2006/relationships/slide" Target="slides/slide273.xml"/><Relationship Id="rId400" Type="http://schemas.openxmlformats.org/officeDocument/2006/relationships/slide" Target="slides/slide396.xml"/><Relationship Id="rId442" Type="http://schemas.openxmlformats.org/officeDocument/2006/relationships/slide" Target="slides/slide438.xml"/><Relationship Id="rId484" Type="http://schemas.openxmlformats.org/officeDocument/2006/relationships/slide" Target="slides/slide480.xml"/><Relationship Id="rId137" Type="http://schemas.openxmlformats.org/officeDocument/2006/relationships/slide" Target="slides/slide133.xml"/><Relationship Id="rId302" Type="http://schemas.openxmlformats.org/officeDocument/2006/relationships/slide" Target="slides/slide298.xml"/><Relationship Id="rId344" Type="http://schemas.openxmlformats.org/officeDocument/2006/relationships/slide" Target="slides/slide340.xml"/><Relationship Id="rId41" Type="http://schemas.openxmlformats.org/officeDocument/2006/relationships/slide" Target="slides/slide37.xml"/><Relationship Id="rId83" Type="http://schemas.openxmlformats.org/officeDocument/2006/relationships/slide" Target="slides/slide79.xml"/><Relationship Id="rId179" Type="http://schemas.openxmlformats.org/officeDocument/2006/relationships/slide" Target="slides/slide175.xml"/><Relationship Id="rId386" Type="http://schemas.openxmlformats.org/officeDocument/2006/relationships/slide" Target="slides/slide382.xml"/><Relationship Id="rId190" Type="http://schemas.openxmlformats.org/officeDocument/2006/relationships/slide" Target="slides/slide186.xml"/><Relationship Id="rId204" Type="http://schemas.openxmlformats.org/officeDocument/2006/relationships/slide" Target="slides/slide200.xml"/><Relationship Id="rId246" Type="http://schemas.openxmlformats.org/officeDocument/2006/relationships/slide" Target="slides/slide242.xml"/><Relationship Id="rId288" Type="http://schemas.openxmlformats.org/officeDocument/2006/relationships/slide" Target="slides/slide284.xml"/><Relationship Id="rId411" Type="http://schemas.openxmlformats.org/officeDocument/2006/relationships/slide" Target="slides/slide407.xml"/><Relationship Id="rId453" Type="http://schemas.openxmlformats.org/officeDocument/2006/relationships/slide" Target="slides/slide449.xml"/><Relationship Id="rId509" Type="http://schemas.openxmlformats.org/officeDocument/2006/relationships/slide" Target="slides/slide505.xml"/><Relationship Id="rId106" Type="http://schemas.openxmlformats.org/officeDocument/2006/relationships/slide" Target="slides/slide102.xml"/><Relationship Id="rId313" Type="http://schemas.openxmlformats.org/officeDocument/2006/relationships/slide" Target="slides/slide309.xml"/><Relationship Id="rId495" Type="http://schemas.openxmlformats.org/officeDocument/2006/relationships/slide" Target="slides/slide491.xml"/><Relationship Id="rId10" Type="http://schemas.openxmlformats.org/officeDocument/2006/relationships/slide" Target="slides/slide6.xml"/><Relationship Id="rId52" Type="http://schemas.openxmlformats.org/officeDocument/2006/relationships/slide" Target="slides/slide48.xml"/><Relationship Id="rId94" Type="http://schemas.openxmlformats.org/officeDocument/2006/relationships/slide" Target="slides/slide90.xml"/><Relationship Id="rId148" Type="http://schemas.openxmlformats.org/officeDocument/2006/relationships/slide" Target="slides/slide144.xml"/><Relationship Id="rId355" Type="http://schemas.openxmlformats.org/officeDocument/2006/relationships/slide" Target="slides/slide351.xml"/><Relationship Id="rId397" Type="http://schemas.openxmlformats.org/officeDocument/2006/relationships/slide" Target="slides/slide393.xml"/><Relationship Id="rId520" Type="http://schemas.openxmlformats.org/officeDocument/2006/relationships/slide" Target="slides/slide516.xml"/><Relationship Id="rId215" Type="http://schemas.openxmlformats.org/officeDocument/2006/relationships/slide" Target="slides/slide211.xml"/><Relationship Id="rId257" Type="http://schemas.openxmlformats.org/officeDocument/2006/relationships/slide" Target="slides/slide253.xml"/><Relationship Id="rId422" Type="http://schemas.openxmlformats.org/officeDocument/2006/relationships/slide" Target="slides/slide418.xml"/><Relationship Id="rId464" Type="http://schemas.openxmlformats.org/officeDocument/2006/relationships/slide" Target="slides/slide460.xml"/><Relationship Id="rId299" Type="http://schemas.openxmlformats.org/officeDocument/2006/relationships/slide" Target="slides/slide295.xml"/><Relationship Id="rId63" Type="http://schemas.openxmlformats.org/officeDocument/2006/relationships/slide" Target="slides/slide59.xml"/><Relationship Id="rId159" Type="http://schemas.openxmlformats.org/officeDocument/2006/relationships/slide" Target="slides/slide155.xml"/><Relationship Id="rId366" Type="http://schemas.openxmlformats.org/officeDocument/2006/relationships/slide" Target="slides/slide362.xml"/><Relationship Id="rId226" Type="http://schemas.openxmlformats.org/officeDocument/2006/relationships/slide" Target="slides/slide222.xml"/><Relationship Id="rId433" Type="http://schemas.openxmlformats.org/officeDocument/2006/relationships/slide" Target="slides/slide429.xml"/><Relationship Id="rId74" Type="http://schemas.openxmlformats.org/officeDocument/2006/relationships/slide" Target="slides/slide70.xml"/><Relationship Id="rId377" Type="http://schemas.openxmlformats.org/officeDocument/2006/relationships/slide" Target="slides/slide373.xml"/><Relationship Id="rId500" Type="http://schemas.openxmlformats.org/officeDocument/2006/relationships/slide" Target="slides/slide496.xml"/><Relationship Id="rId5" Type="http://schemas.openxmlformats.org/officeDocument/2006/relationships/slide" Target="slides/slide1.xml"/><Relationship Id="rId237" Type="http://schemas.openxmlformats.org/officeDocument/2006/relationships/slide" Target="slides/slide233.xml"/><Relationship Id="rId444" Type="http://schemas.openxmlformats.org/officeDocument/2006/relationships/slide" Target="slides/slide440.xml"/><Relationship Id="rId290" Type="http://schemas.openxmlformats.org/officeDocument/2006/relationships/slide" Target="slides/slide286.xml"/><Relationship Id="rId304" Type="http://schemas.openxmlformats.org/officeDocument/2006/relationships/slide" Target="slides/slide300.xml"/><Relationship Id="rId388" Type="http://schemas.openxmlformats.org/officeDocument/2006/relationships/slide" Target="slides/slide384.xml"/><Relationship Id="rId511" Type="http://schemas.openxmlformats.org/officeDocument/2006/relationships/slide" Target="slides/slide507.xml"/><Relationship Id="rId85" Type="http://schemas.openxmlformats.org/officeDocument/2006/relationships/slide" Target="slides/slide81.xml"/><Relationship Id="rId150" Type="http://schemas.openxmlformats.org/officeDocument/2006/relationships/slide" Target="slides/slide146.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openxmlformats.org/officeDocument/2006/relationships/package" Target="../embeddings/Microsoft_Excel_Worksheet454.xlsx"/></Relationships>
</file>

<file path=ppt/charts/_rels/chart456.xml.rels><?xml version="1.0" encoding="UTF-8" standalone="yes"?>
<Relationships xmlns="http://schemas.openxmlformats.org/package/2006/relationships"><Relationship Id="rId1" Type="http://schemas.openxmlformats.org/officeDocument/2006/relationships/package" Target="../embeddings/Microsoft_Excel_Worksheet455.xlsx"/></Relationships>
</file>

<file path=ppt/charts/_rels/chart457.xml.rels><?xml version="1.0" encoding="UTF-8" standalone="yes"?>
<Relationships xmlns="http://schemas.openxmlformats.org/package/2006/relationships"><Relationship Id="rId1" Type="http://schemas.openxmlformats.org/officeDocument/2006/relationships/package" Target="../embeddings/Microsoft_Excel_Worksheet456.xlsx"/></Relationships>
</file>

<file path=ppt/charts/_rels/chart458.xml.rels><?xml version="1.0" encoding="UTF-8" standalone="yes"?>
<Relationships xmlns="http://schemas.openxmlformats.org/package/2006/relationships"><Relationship Id="rId1" Type="http://schemas.openxmlformats.org/officeDocument/2006/relationships/package" Target="../embeddings/Microsoft_Excel_Worksheet457.xlsx"/></Relationships>
</file>

<file path=ppt/charts/_rels/chart459.xml.rels><?xml version="1.0" encoding="UTF-8" standalone="yes"?>
<Relationships xmlns="http://schemas.openxmlformats.org/package/2006/relationships"><Relationship Id="rId1" Type="http://schemas.openxmlformats.org/officeDocument/2006/relationships/package" Target="../embeddings/Microsoft_Excel_Worksheet458.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60.xml.rels><?xml version="1.0" encoding="UTF-8" standalone="yes"?>
<Relationships xmlns="http://schemas.openxmlformats.org/package/2006/relationships"><Relationship Id="rId1" Type="http://schemas.openxmlformats.org/officeDocument/2006/relationships/package" Target="../embeddings/Microsoft_Excel_Worksheet459.xlsx"/></Relationships>
</file>

<file path=ppt/charts/_rels/chart461.xml.rels><?xml version="1.0" encoding="UTF-8" standalone="yes"?>
<Relationships xmlns="http://schemas.openxmlformats.org/package/2006/relationships"><Relationship Id="rId1" Type="http://schemas.openxmlformats.org/officeDocument/2006/relationships/package" Target="../embeddings/Microsoft_Excel_Worksheet460.xlsx"/></Relationships>
</file>

<file path=ppt/charts/_rels/chart462.xml.rels><?xml version="1.0" encoding="UTF-8" standalone="yes"?>
<Relationships xmlns="http://schemas.openxmlformats.org/package/2006/relationships"><Relationship Id="rId1" Type="http://schemas.openxmlformats.org/officeDocument/2006/relationships/package" Target="../embeddings/Microsoft_Excel_Worksheet461.xlsx"/></Relationships>
</file>

<file path=ppt/charts/_rels/chart463.xml.rels><?xml version="1.0" encoding="UTF-8" standalone="yes"?>
<Relationships xmlns="http://schemas.openxmlformats.org/package/2006/relationships"><Relationship Id="rId1" Type="http://schemas.openxmlformats.org/officeDocument/2006/relationships/package" Target="../embeddings/Microsoft_Excel_Worksheet462.xlsx"/></Relationships>
</file>

<file path=ppt/charts/_rels/chart464.xml.rels><?xml version="1.0" encoding="UTF-8" standalone="yes"?>
<Relationships xmlns="http://schemas.openxmlformats.org/package/2006/relationships"><Relationship Id="rId1" Type="http://schemas.openxmlformats.org/officeDocument/2006/relationships/package" Target="../embeddings/Microsoft_Excel_Worksheet463.xlsx"/></Relationships>
</file>

<file path=ppt/charts/_rels/chart465.xml.rels><?xml version="1.0" encoding="UTF-8" standalone="yes"?>
<Relationships xmlns="http://schemas.openxmlformats.org/package/2006/relationships"><Relationship Id="rId1" Type="http://schemas.openxmlformats.org/officeDocument/2006/relationships/package" Target="../embeddings/Microsoft_Excel_Worksheet464.xlsx"/></Relationships>
</file>

<file path=ppt/charts/_rels/chart466.xml.rels><?xml version="1.0" encoding="UTF-8" standalone="yes"?>
<Relationships xmlns="http://schemas.openxmlformats.org/package/2006/relationships"><Relationship Id="rId1" Type="http://schemas.openxmlformats.org/officeDocument/2006/relationships/package" Target="../embeddings/Microsoft_Excel_Worksheet465.xlsx"/></Relationships>
</file>

<file path=ppt/charts/_rels/chart467.xml.rels><?xml version="1.0" encoding="UTF-8" standalone="yes"?>
<Relationships xmlns="http://schemas.openxmlformats.org/package/2006/relationships"><Relationship Id="rId1"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openxmlformats.org/officeDocument/2006/relationships/package" Target="../embeddings/Microsoft_Excel_Worksheet469.xlsx"/></Relationships>
</file>

<file path=ppt/charts/_rels/chart471.xml.rels><?xml version="1.0" encoding="UTF-8" standalone="yes"?>
<Relationships xmlns="http://schemas.openxmlformats.org/package/2006/relationships"><Relationship Id="rId1" Type="http://schemas.openxmlformats.org/officeDocument/2006/relationships/package" Target="../embeddings/Microsoft_Excel_Worksheet470.xlsx"/></Relationships>
</file>

<file path=ppt/charts/_rels/chart472.xml.rels><?xml version="1.0" encoding="UTF-8" standalone="yes"?>
<Relationships xmlns="http://schemas.openxmlformats.org/package/2006/relationships"><Relationship Id="rId1" Type="http://schemas.openxmlformats.org/officeDocument/2006/relationships/package" Target="../embeddings/Microsoft_Excel_Worksheet471.xlsx"/></Relationships>
</file>

<file path=ppt/charts/_rels/chart473.xml.rels><?xml version="1.0" encoding="UTF-8" standalone="yes"?>
<Relationships xmlns="http://schemas.openxmlformats.org/package/2006/relationships"><Relationship Id="rId1" Type="http://schemas.openxmlformats.org/officeDocument/2006/relationships/package" Target="../embeddings/Microsoft_Excel_Worksheet472.xlsx"/></Relationships>
</file>

<file path=ppt/charts/_rels/chart474.xml.rels><?xml version="1.0" encoding="UTF-8" standalone="yes"?>
<Relationships xmlns="http://schemas.openxmlformats.org/package/2006/relationships"><Relationship Id="rId1" Type="http://schemas.openxmlformats.org/officeDocument/2006/relationships/package" Target="../embeddings/Microsoft_Excel_Worksheet473.xlsx"/></Relationships>
</file>

<file path=ppt/charts/_rels/chart475.xml.rels><?xml version="1.0" encoding="UTF-8" standalone="yes"?>
<Relationships xmlns="http://schemas.openxmlformats.org/package/2006/relationships"><Relationship Id="rId1" Type="http://schemas.openxmlformats.org/officeDocument/2006/relationships/package" Target="../embeddings/Microsoft_Excel_Worksheet474.xlsx"/></Relationships>
</file>

<file path=ppt/charts/_rels/chart476.xml.rels><?xml version="1.0" encoding="UTF-8" standalone="yes"?>
<Relationships xmlns="http://schemas.openxmlformats.org/package/2006/relationships"><Relationship Id="rId1" Type="http://schemas.openxmlformats.org/officeDocument/2006/relationships/package" Target="../embeddings/Microsoft_Excel_Worksheet475.xlsx"/></Relationships>
</file>

<file path=ppt/charts/_rels/chart477.xml.rels><?xml version="1.0" encoding="UTF-8" standalone="yes"?>
<Relationships xmlns="http://schemas.openxmlformats.org/package/2006/relationships"><Relationship Id="rId1" Type="http://schemas.openxmlformats.org/officeDocument/2006/relationships/package" Target="../embeddings/Microsoft_Excel_Worksheet476.xlsx"/></Relationships>
</file>

<file path=ppt/charts/_rels/chart478.xml.rels><?xml version="1.0" encoding="UTF-8" standalone="yes"?>
<Relationships xmlns="http://schemas.openxmlformats.org/package/2006/relationships"><Relationship Id="rId1" Type="http://schemas.openxmlformats.org/officeDocument/2006/relationships/package" Target="../embeddings/Microsoft_Excel_Worksheet477.xlsx"/></Relationships>
</file>

<file path=ppt/charts/_rels/chart479.xml.rels><?xml version="1.0" encoding="UTF-8" standalone="yes"?>
<Relationships xmlns="http://schemas.openxmlformats.org/package/2006/relationships"><Relationship Id="rId1"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openxmlformats.org/officeDocument/2006/relationships/package" Target="../embeddings/Microsoft_Excel_Worksheet481.xlsx"/></Relationships>
</file>

<file path=ppt/charts/_rels/chart483.xml.rels><?xml version="1.0" encoding="UTF-8" standalone="yes"?>
<Relationships xmlns="http://schemas.openxmlformats.org/package/2006/relationships"><Relationship Id="rId1" Type="http://schemas.openxmlformats.org/officeDocument/2006/relationships/package" Target="../embeddings/Microsoft_Excel_Worksheet482.xlsx"/></Relationships>
</file>

<file path=ppt/charts/_rels/chart484.xml.rels><?xml version="1.0" encoding="UTF-8" standalone="yes"?>
<Relationships xmlns="http://schemas.openxmlformats.org/package/2006/relationships"><Relationship Id="rId1" Type="http://schemas.openxmlformats.org/officeDocument/2006/relationships/package" Target="../embeddings/Microsoft_Excel_Worksheet483.xlsx"/></Relationships>
</file>

<file path=ppt/charts/_rels/chart485.xml.rels><?xml version="1.0" encoding="UTF-8" standalone="yes"?>
<Relationships xmlns="http://schemas.openxmlformats.org/package/2006/relationships"><Relationship Id="rId1" Type="http://schemas.openxmlformats.org/officeDocument/2006/relationships/package" Target="../embeddings/Microsoft_Excel_Worksheet484.xlsx"/></Relationships>
</file>

<file path=ppt/charts/_rels/chart486.xml.rels><?xml version="1.0" encoding="UTF-8" standalone="yes"?>
<Relationships xmlns="http://schemas.openxmlformats.org/package/2006/relationships"><Relationship Id="rId1" Type="http://schemas.openxmlformats.org/officeDocument/2006/relationships/package" Target="../embeddings/Microsoft_Excel_Worksheet485.xlsx"/></Relationships>
</file>

<file path=ppt/charts/_rels/chart487.xml.rels><?xml version="1.0" encoding="UTF-8" standalone="yes"?>
<Relationships xmlns="http://schemas.openxmlformats.org/package/2006/relationships"><Relationship Id="rId1" Type="http://schemas.openxmlformats.org/officeDocument/2006/relationships/package" Target="../embeddings/Microsoft_Excel_Worksheet486.xlsx"/></Relationships>
</file>

<file path=ppt/charts/_rels/chart488.xml.rels><?xml version="1.0" encoding="UTF-8" standalone="yes"?>
<Relationships xmlns="http://schemas.openxmlformats.org/package/2006/relationships"><Relationship Id="rId1" Type="http://schemas.openxmlformats.org/officeDocument/2006/relationships/package" Target="../embeddings/Microsoft_Excel_Worksheet487.xlsx"/></Relationships>
</file>

<file path=ppt/charts/_rels/chart489.xml.rels><?xml version="1.0" encoding="UTF-8" standalone="yes"?>
<Relationships xmlns="http://schemas.openxmlformats.org/package/2006/relationships"><Relationship Id="rId1" Type="http://schemas.openxmlformats.org/officeDocument/2006/relationships/package" Target="../embeddings/Microsoft_Excel_Worksheet48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0.xml.rels><?xml version="1.0" encoding="UTF-8" standalone="yes"?>
<Relationships xmlns="http://schemas.openxmlformats.org/package/2006/relationships"><Relationship Id="rId1" Type="http://schemas.openxmlformats.org/officeDocument/2006/relationships/package" Target="../embeddings/Microsoft_Excel_Worksheet489.xlsx"/></Relationships>
</file>

<file path=ppt/charts/_rels/chart491.xml.rels><?xml version="1.0" encoding="UTF-8" standalone="yes"?>
<Relationships xmlns="http://schemas.openxmlformats.org/package/2006/relationships"><Relationship Id="rId1" Type="http://schemas.openxmlformats.org/officeDocument/2006/relationships/package" Target="../embeddings/Microsoft_Excel_Worksheet490.xlsx"/></Relationships>
</file>

<file path=ppt/charts/_rels/chart492.xml.rels><?xml version="1.0" encoding="UTF-8" standalone="yes"?>
<Relationships xmlns="http://schemas.openxmlformats.org/package/2006/relationships"><Relationship Id="rId1" Type="http://schemas.openxmlformats.org/officeDocument/2006/relationships/package" Target="../embeddings/Microsoft_Excel_Worksheet491.xlsx"/></Relationships>
</file>

<file path=ppt/charts/_rels/chart493.xml.rels><?xml version="1.0" encoding="UTF-8" standalone="yes"?>
<Relationships xmlns="http://schemas.openxmlformats.org/package/2006/relationships"><Relationship Id="rId1"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openxmlformats.org/officeDocument/2006/relationships/package" Target="../embeddings/Microsoft_Excel_Worksheet493.xlsx"/></Relationships>
</file>

<file path=ppt/charts/_rels/chart495.xml.rels><?xml version="1.0" encoding="UTF-8" standalone="yes"?>
<Relationships xmlns="http://schemas.openxmlformats.org/package/2006/relationships"><Relationship Id="rId1" Type="http://schemas.openxmlformats.org/officeDocument/2006/relationships/package" Target="../embeddings/Microsoft_Excel_Worksheet494.xlsx"/></Relationships>
</file>

<file path=ppt/charts/_rels/chart496.xml.rels><?xml version="1.0" encoding="UTF-8" standalone="yes"?>
<Relationships xmlns="http://schemas.openxmlformats.org/package/2006/relationships"><Relationship Id="rId1" Type="http://schemas.openxmlformats.org/officeDocument/2006/relationships/package" Target="../embeddings/Microsoft_Excel_Worksheet495.xlsx"/></Relationships>
</file>

<file path=ppt/charts/_rels/chart497.xml.rels><?xml version="1.0" encoding="UTF-8" standalone="yes"?>
<Relationships xmlns="http://schemas.openxmlformats.org/package/2006/relationships"><Relationship Id="rId1" Type="http://schemas.openxmlformats.org/officeDocument/2006/relationships/package" Target="../embeddings/Microsoft_Excel_Worksheet496.xlsx"/></Relationships>
</file>

<file path=ppt/charts/_rels/chart498.xml.rels><?xml version="1.0" encoding="UTF-8" standalone="yes"?>
<Relationships xmlns="http://schemas.openxmlformats.org/package/2006/relationships"><Relationship Id="rId1" Type="http://schemas.openxmlformats.org/officeDocument/2006/relationships/package" Target="../embeddings/Microsoft_Excel_Worksheet497.xlsx"/></Relationships>
</file>

<file path=ppt/charts/_rels/chart499.xml.rels><?xml version="1.0" encoding="UTF-8" standalone="yes"?>
<Relationships xmlns="http://schemas.openxmlformats.org/package/2006/relationships"><Relationship Id="rId1" Type="http://schemas.openxmlformats.org/officeDocument/2006/relationships/package" Target="../embeddings/Microsoft_Excel_Worksheet49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00.xml.rels><?xml version="1.0" encoding="UTF-8" standalone="yes"?>
<Relationships xmlns="http://schemas.openxmlformats.org/package/2006/relationships"><Relationship Id="rId1" Type="http://schemas.openxmlformats.org/officeDocument/2006/relationships/package" Target="../embeddings/Microsoft_Excel_Worksheet499.xlsx"/></Relationships>
</file>

<file path=ppt/charts/_rels/chart501.xml.rels><?xml version="1.0" encoding="UTF-8" standalone="yes"?>
<Relationships xmlns="http://schemas.openxmlformats.org/package/2006/relationships"><Relationship Id="rId1"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openxmlformats.org/officeDocument/2006/relationships/package" Target="../embeddings/Microsoft_Excel_Worksheet501.xlsx"/></Relationships>
</file>

<file path=ppt/charts/_rels/chart503.xml.rels><?xml version="1.0" encoding="UTF-8" standalone="yes"?>
<Relationships xmlns="http://schemas.openxmlformats.org/package/2006/relationships"><Relationship Id="rId1" Type="http://schemas.openxmlformats.org/officeDocument/2006/relationships/package" Target="../embeddings/Microsoft_Excel_Worksheet502.xlsx"/></Relationships>
</file>

<file path=ppt/charts/_rels/chart504.xml.rels><?xml version="1.0" encoding="UTF-8" standalone="yes"?>
<Relationships xmlns="http://schemas.openxmlformats.org/package/2006/relationships"><Relationship Id="rId1" Type="http://schemas.openxmlformats.org/officeDocument/2006/relationships/package" Target="../embeddings/Microsoft_Excel_Worksheet503.xlsx"/></Relationships>
</file>

<file path=ppt/charts/_rels/chart505.xml.rels><?xml version="1.0" encoding="UTF-8" standalone="yes"?>
<Relationships xmlns="http://schemas.openxmlformats.org/package/2006/relationships"><Relationship Id="rId1" Type="http://schemas.openxmlformats.org/officeDocument/2006/relationships/package" Target="../embeddings/Microsoft_Excel_Worksheet504.xlsx"/></Relationships>
</file>

<file path=ppt/charts/_rels/chart506.xml.rels><?xml version="1.0" encoding="UTF-8" standalone="yes"?>
<Relationships xmlns="http://schemas.openxmlformats.org/package/2006/relationships"><Relationship Id="rId1" Type="http://schemas.openxmlformats.org/officeDocument/2006/relationships/package" Target="../embeddings/Microsoft_Excel_Worksheet505.xlsx"/></Relationships>
</file>

<file path=ppt/charts/_rels/chart507.xml.rels><?xml version="1.0" encoding="UTF-8" standalone="yes"?>
<Relationships xmlns="http://schemas.openxmlformats.org/package/2006/relationships"><Relationship Id="rId1" Type="http://schemas.openxmlformats.org/officeDocument/2006/relationships/package" Target="../embeddings/Microsoft_Excel_Worksheet506.xlsx"/></Relationships>
</file>

<file path=ppt/charts/_rels/chart508.xml.rels><?xml version="1.0" encoding="UTF-8" standalone="yes"?>
<Relationships xmlns="http://schemas.openxmlformats.org/package/2006/relationships"><Relationship Id="rId1" Type="http://schemas.openxmlformats.org/officeDocument/2006/relationships/package" Target="../embeddings/Microsoft_Excel_Worksheet507.xlsx"/></Relationships>
</file>

<file path=ppt/charts/_rels/chart509.xml.rels><?xml version="1.0" encoding="UTF-8" standalone="yes"?>
<Relationships xmlns="http://schemas.openxmlformats.org/package/2006/relationships"><Relationship Id="rId1" Type="http://schemas.openxmlformats.org/officeDocument/2006/relationships/package" Target="../embeddings/Microsoft_Excel_Worksheet508.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10.xml.rels><?xml version="1.0" encoding="UTF-8" standalone="yes"?>
<Relationships xmlns="http://schemas.openxmlformats.org/package/2006/relationships"><Relationship Id="rId1" Type="http://schemas.openxmlformats.org/officeDocument/2006/relationships/package" Target="../embeddings/Microsoft_Excel_Worksheet509.xlsx"/></Relationships>
</file>

<file path=ppt/charts/_rels/chart511.xml.rels><?xml version="1.0" encoding="UTF-8" standalone="yes"?>
<Relationships xmlns="http://schemas.openxmlformats.org/package/2006/relationships"><Relationship Id="rId1" Type="http://schemas.openxmlformats.org/officeDocument/2006/relationships/package" Target="../embeddings/Microsoft_Excel_Worksheet510.xlsx"/></Relationships>
</file>

<file path=ppt/charts/_rels/chart512.xml.rels><?xml version="1.0" encoding="UTF-8" standalone="yes"?>
<Relationships xmlns="http://schemas.openxmlformats.org/package/2006/relationships"><Relationship Id="rId1" Type="http://schemas.openxmlformats.org/officeDocument/2006/relationships/package" Target="../embeddings/Microsoft_Excel_Worksheet511.xlsx"/></Relationships>
</file>

<file path=ppt/charts/_rels/chart513.xml.rels><?xml version="1.0" encoding="UTF-8" standalone="yes"?>
<Relationships xmlns="http://schemas.openxmlformats.org/package/2006/relationships"><Relationship Id="rId1" Type="http://schemas.openxmlformats.org/officeDocument/2006/relationships/package" Target="../embeddings/Microsoft_Excel_Worksheet512.xlsx"/></Relationships>
</file>

<file path=ppt/charts/_rels/chart514.xml.rels><?xml version="1.0" encoding="UTF-8" standalone="yes"?>
<Relationships xmlns="http://schemas.openxmlformats.org/package/2006/relationships"><Relationship Id="rId1" Type="http://schemas.openxmlformats.org/officeDocument/2006/relationships/package" Target="../embeddings/Microsoft_Excel_Worksheet513.xlsx"/></Relationships>
</file>

<file path=ppt/charts/_rels/chart515.xml.rels><?xml version="1.0" encoding="UTF-8" standalone="yes"?>
<Relationships xmlns="http://schemas.openxmlformats.org/package/2006/relationships"><Relationship Id="rId1" Type="http://schemas.openxmlformats.org/officeDocument/2006/relationships/package" Target="../embeddings/Microsoft_Excel_Worksheet514.xlsx"/></Relationships>
</file>

<file path=ppt/charts/_rels/chart516.xml.rels><?xml version="1.0" encoding="UTF-8" standalone="yes"?>
<Relationships xmlns="http://schemas.openxmlformats.org/package/2006/relationships"><Relationship Id="rId1" Type="http://schemas.openxmlformats.org/officeDocument/2006/relationships/package" Target="../embeddings/Microsoft_Excel_Worksheet515.xlsx"/></Relationships>
</file>

<file path=ppt/charts/_rels/chart517.xml.rels><?xml version="1.0" encoding="UTF-8" standalone="yes"?>
<Relationships xmlns="http://schemas.openxmlformats.org/package/2006/relationships"><Relationship Id="rId1" Type="http://schemas.openxmlformats.org/officeDocument/2006/relationships/package" Target="../embeddings/Microsoft_Excel_Worksheet516.xlsx"/></Relationships>
</file>

<file path=ppt/charts/_rels/chart518.xml.rels><?xml version="1.0" encoding="UTF-8" standalone="yes"?>
<Relationships xmlns="http://schemas.openxmlformats.org/package/2006/relationships"><Relationship Id="rId1" Type="http://schemas.openxmlformats.org/officeDocument/2006/relationships/package" Target="../embeddings/Microsoft_Excel_Worksheet517.xlsx"/></Relationships>
</file>

<file path=ppt/charts/_rels/chart519.xml.rels><?xml version="1.0" encoding="UTF-8" standalone="yes"?>
<Relationships xmlns="http://schemas.openxmlformats.org/package/2006/relationships"><Relationship Id="rId1" Type="http://schemas.openxmlformats.org/officeDocument/2006/relationships/package" Target="../embeddings/Microsoft_Excel_Worksheet518.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20.xml.rels><?xml version="1.0" encoding="UTF-8" standalone="yes"?>
<Relationships xmlns="http://schemas.openxmlformats.org/package/2006/relationships"><Relationship Id="rId1" Type="http://schemas.openxmlformats.org/officeDocument/2006/relationships/package" Target="../embeddings/Microsoft_Excel_Worksheet519.xlsx"/></Relationships>
</file>

<file path=ppt/charts/_rels/chart521.xml.rels><?xml version="1.0" encoding="UTF-8" standalone="yes"?>
<Relationships xmlns="http://schemas.openxmlformats.org/package/2006/relationships"><Relationship Id="rId1" Type="http://schemas.openxmlformats.org/officeDocument/2006/relationships/package" Target="../embeddings/Microsoft_Excel_Worksheet520.xlsx"/></Relationships>
</file>

<file path=ppt/charts/_rels/chart522.xml.rels><?xml version="1.0" encoding="UTF-8" standalone="yes"?>
<Relationships xmlns="http://schemas.openxmlformats.org/package/2006/relationships"><Relationship Id="rId1" Type="http://schemas.openxmlformats.org/officeDocument/2006/relationships/package" Target="../embeddings/Microsoft_Excel_Worksheet521.xlsx"/></Relationships>
</file>

<file path=ppt/charts/_rels/chart523.xml.rels><?xml version="1.0" encoding="UTF-8" standalone="yes"?>
<Relationships xmlns="http://schemas.openxmlformats.org/package/2006/relationships"><Relationship Id="rId1"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openxmlformats.org/officeDocument/2006/relationships/package" Target="../embeddings/Microsoft_Excel_Worksheet523.xlsx"/></Relationships>
</file>

<file path=ppt/charts/_rels/chart525.xml.rels><?xml version="1.0" encoding="UTF-8" standalone="yes"?>
<Relationships xmlns="http://schemas.openxmlformats.org/package/2006/relationships"><Relationship Id="rId1" Type="http://schemas.openxmlformats.org/officeDocument/2006/relationships/package" Target="../embeddings/Microsoft_Excel_Worksheet524.xlsx"/></Relationships>
</file>

<file path=ppt/charts/_rels/chart526.xml.rels><?xml version="1.0" encoding="UTF-8" standalone="yes"?>
<Relationships xmlns="http://schemas.openxmlformats.org/package/2006/relationships"><Relationship Id="rId1" Type="http://schemas.openxmlformats.org/officeDocument/2006/relationships/package" Target="../embeddings/Microsoft_Excel_Worksheet525.xlsx"/></Relationships>
</file>

<file path=ppt/charts/_rels/chart527.xml.rels><?xml version="1.0" encoding="UTF-8" standalone="yes"?>
<Relationships xmlns="http://schemas.openxmlformats.org/package/2006/relationships"><Relationship Id="rId1" Type="http://schemas.openxmlformats.org/officeDocument/2006/relationships/package" Target="../embeddings/Microsoft_Excel_Worksheet526.xlsx"/></Relationships>
</file>

<file path=ppt/charts/_rels/chart528.xml.rels><?xml version="1.0" encoding="UTF-8" standalone="yes"?>
<Relationships xmlns="http://schemas.openxmlformats.org/package/2006/relationships"><Relationship Id="rId1" Type="http://schemas.openxmlformats.org/officeDocument/2006/relationships/package" Target="../embeddings/Microsoft_Excel_Worksheet527.xlsx"/></Relationships>
</file>

<file path=ppt/charts/_rels/chart529.xml.rels><?xml version="1.0" encoding="UTF-8" standalone="yes"?>
<Relationships xmlns="http://schemas.openxmlformats.org/package/2006/relationships"><Relationship Id="rId1" Type="http://schemas.openxmlformats.org/officeDocument/2006/relationships/package" Target="../embeddings/Microsoft_Excel_Worksheet528.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30.xml.rels><?xml version="1.0" encoding="UTF-8" standalone="yes"?>
<Relationships xmlns="http://schemas.openxmlformats.org/package/2006/relationships"><Relationship Id="rId1" Type="http://schemas.openxmlformats.org/officeDocument/2006/relationships/package" Target="../embeddings/Microsoft_Excel_Worksheet529.xlsx"/></Relationships>
</file>

<file path=ppt/charts/_rels/chart531.xml.rels><?xml version="1.0" encoding="UTF-8" standalone="yes"?>
<Relationships xmlns="http://schemas.openxmlformats.org/package/2006/relationships"><Relationship Id="rId1" Type="http://schemas.openxmlformats.org/officeDocument/2006/relationships/package" Target="../embeddings/Microsoft_Excel_Worksheet530.xlsx"/></Relationships>
</file>

<file path=ppt/charts/_rels/chart532.xml.rels><?xml version="1.0" encoding="UTF-8" standalone="yes"?>
<Relationships xmlns="http://schemas.openxmlformats.org/package/2006/relationships"><Relationship Id="rId1" Type="http://schemas.openxmlformats.org/officeDocument/2006/relationships/package" Target="../embeddings/Microsoft_Excel_Worksheet531.xlsx"/></Relationships>
</file>

<file path=ppt/charts/_rels/chart533.xml.rels><?xml version="1.0" encoding="UTF-8" standalone="yes"?>
<Relationships xmlns="http://schemas.openxmlformats.org/package/2006/relationships"><Relationship Id="rId1" Type="http://schemas.openxmlformats.org/officeDocument/2006/relationships/package" Target="../embeddings/Microsoft_Excel_Worksheet532.xlsx"/></Relationships>
</file>

<file path=ppt/charts/_rels/chart534.xml.rels><?xml version="1.0" encoding="UTF-8" standalone="yes"?>
<Relationships xmlns="http://schemas.openxmlformats.org/package/2006/relationships"><Relationship Id="rId1" Type="http://schemas.openxmlformats.org/officeDocument/2006/relationships/package" Target="../embeddings/Microsoft_Excel_Worksheet533.xlsx"/></Relationships>
</file>

<file path=ppt/charts/_rels/chart535.xml.rels><?xml version="1.0" encoding="UTF-8" standalone="yes"?>
<Relationships xmlns="http://schemas.openxmlformats.org/package/2006/relationships"><Relationship Id="rId1" Type="http://schemas.openxmlformats.org/officeDocument/2006/relationships/package" Target="../embeddings/Microsoft_Excel_Worksheet534.xlsx"/></Relationships>
</file>

<file path=ppt/charts/_rels/chart536.xml.rels><?xml version="1.0" encoding="UTF-8" standalone="yes"?>
<Relationships xmlns="http://schemas.openxmlformats.org/package/2006/relationships"><Relationship Id="rId1" Type="http://schemas.openxmlformats.org/officeDocument/2006/relationships/package" Target="../embeddings/Microsoft_Excel_Worksheet535.xlsx"/></Relationships>
</file>

<file path=ppt/charts/_rels/chart537.xml.rels><?xml version="1.0" encoding="UTF-8" standalone="yes"?>
<Relationships xmlns="http://schemas.openxmlformats.org/package/2006/relationships"><Relationship Id="rId1" Type="http://schemas.openxmlformats.org/officeDocument/2006/relationships/package" Target="../embeddings/Microsoft_Excel_Worksheet536.xlsx"/></Relationships>
</file>

<file path=ppt/charts/_rels/chart538.xml.rels><?xml version="1.0" encoding="UTF-8" standalone="yes"?>
<Relationships xmlns="http://schemas.openxmlformats.org/package/2006/relationships"><Relationship Id="rId1" Type="http://schemas.openxmlformats.org/officeDocument/2006/relationships/package" Target="../embeddings/Microsoft_Excel_Worksheet537.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605464E-93AC-4939-AA39-32A166E476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48EF65F-69CB-4B76-874A-51B6B3AEE4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F2FA53E-9EF1-4231-8EA2-FE586620E8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8E9192F-F284-47B3-B4E3-EA8CA0DA86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CA545EF-7A59-4EDD-9215-B199865F1B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F7EBC19-47CD-47D3-A0E9-A0AEFB4926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95F09C5-8428-41B4-939F-2100B4CA77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EF5F83F-7604-4E6B-BABD-7BA69FDA9C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A119058-BB7E-413B-9569-AD568B4A09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3EAB881-0D82-49EF-B0E1-6097F5153D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2998AA5-7ADD-4F6E-BD83-0FF3D5F216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C6F1C5E-B4A4-4960-AD39-F6437A7B49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D07275B-F564-4A67-A8EC-E685A8BF3A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391EB05-629B-4B3D-AF54-CC97D57572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DF16F39-8C2A-4C09-917D-6E778D8942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A6E670B-0E72-41BE-A2EB-CD4047F3C9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52132B3-49FC-4EF0-9F39-B6CBE1B1E2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5486A4F-F35D-462F-BA40-FA1637F6AD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C4C0F26-4881-4843-8A3A-8B0324E79F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C252158-F7FE-4797-B516-0C4409E266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CCFE33B-266F-4858-BA56-6512C60FB7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CEB902A-6812-4D45-9DAC-5CFC8C3434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84A8AEB-ED2B-49A7-AF6D-615E54100F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9FA4B3B-0BCD-42FE-B57C-4212A0BF4B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4255DCF-F14D-4EEB-91B0-93FA80D90A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7A2398C-2BC4-44EB-A762-C4678485A7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E13DE9E-4957-4730-8B6F-4E32084435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23B67AB-1433-48E4-ADDB-0EB53D01AB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3734EB1-981B-4763-9DD7-8657013663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39945D1-EAA5-4EFA-8605-F8AD10747A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EBE2FBD-1D19-4FF3-B153-8B1F0F92C6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03C595E-7E4B-4710-8198-9B9B29A277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6D28D6A-0E79-4A2A-8E32-785C0F443A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FE21B35-5C03-42E8-B3FA-98E2CC316C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261FBEA-9D6D-41EE-9B62-9804401DD1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B71B864-4530-4A88-ABC4-CCC0AAC19F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45E4B49-A1A2-4EE0-9F27-04D3869029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D2069FF-7450-4170-9A7A-28DFBC0DDC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7795738-0567-44EE-B49D-71992B2416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9838CB1-A156-4837-A969-E8F356E8A4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3ABCBFA-F385-4D09-90D8-EDA36A4EB4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F5EFFA2-8F8B-48DC-8361-8A6F346A26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20762B3-EE8E-404F-B918-BB373D3AB6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92B1B89-C804-4423-8907-3E7BBA8DD7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F00DD90-9693-475A-AC17-DCA43783D1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4700026-2544-4C6B-ABE5-06F86FC467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AEB8566-3A40-404D-B609-6AF021F834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E911EA5-C7AC-48C2-8B5D-1975089B67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5956CDA-EA10-44DB-A54B-5F0485B68F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6A628B2-324F-41BF-98CC-4C1DE13C3A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0502660-96AC-4BB7-BFB8-6664D57411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6867A51-E1E0-4F91-9F97-A369A3348C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EA4A377-7D75-4FC9-9FF6-6ED3FBB0E3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20848CB-329C-4540-93DC-4968430C87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96F709B-2EF3-45D9-9D9E-2210D0447E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AFC8FA1-07B9-4A19-8D1A-41CB265F94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5BDB6FA-F4F9-4F86-822E-F4E35AD0DD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DBC5ED9-20C2-4103-B30F-58486EC478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14E9330-9E27-4E78-947B-B685FF1575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78A14CA-3DE8-4243-85F4-CAC693CE49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4112B30-4CE3-4B6B-8104-1192123229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2F6194F-4B81-4F64-8A2B-5D6110145A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F642F11-FF59-4807-8DA4-E27A16005E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8570102-0CE7-42DB-9153-FFA915FCC4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C6E375E-4F92-4699-9DC5-F43C584081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259097A-D83B-40A9-965B-8A2AA171B2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BA36B34-5F5B-464F-AA16-546DF6C6CB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C6D2BF2-37F8-41AB-A803-C0B70D8CCC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DC7EC12-1B4C-4460-BC1A-68FA37230E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E0D4A49-B8AC-41EC-BC16-580C1C7414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CE4AB50-0D4D-4587-9E33-045436E549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5A8AB76-8453-49EE-A293-22567E76F5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45C00DE-7D0A-4222-AAF9-0127B259D5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329952F-FB5C-4B30-9BC6-5269AED75E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A7E4996-29FB-4EBD-94D6-2A92E2169D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D563EAF-904F-4F26-8EDE-246DB4C08D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2E8D002-7E9C-4859-BAB5-DA3ECCC98E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024EAF1-B126-468B-8178-B3832A5DCE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04329C9-053D-4DC0-81CF-72E90826AC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CB756BE-64D8-4F22-A472-571D60A456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2956C88-E5BC-472D-A1EB-B114E92FD0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FE9197D-CE78-4C3C-88DF-0E5E3289FF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2C20463-284B-472C-8E56-C3E082908C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4481DCF-0840-4C20-AE31-945BFFD04B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89A279E-6DE8-4E1F-9E3E-025BB0F816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B87E4BE-6B70-493C-88C8-ED262AF722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2C6568E-1983-4132-A380-27FD9359E3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7545349-E9D4-44C3-8593-DB3A75E419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BAE87AF-3623-4EC5-8E6A-202128F83B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D384822-CB59-4EED-8B62-1BA7373C5F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8C1EBA0-F6B4-4254-9D5D-158E3920B5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2D0C54A-3B48-439A-A6EB-753A1453CF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DA45ED7-9791-4A36-8558-45EF99D54A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29D3482-D2E0-4E00-82A2-0C49B98CD2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28A84B7-8565-4227-87EC-CE35023284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B898B67-306C-4510-AC6E-BF3517378E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25626E7-D05A-408A-96CF-CC9979A7C2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57ADC07-48DC-43BE-AD5A-88184E9ECE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F813B3F-8D95-45AC-992C-F04B96F2C0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06A46AF-6511-43FF-B0BA-F7906375DA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35025AB-FDF0-4F19-AEBE-FE8EE8CA78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598E752-8269-4A7E-AEC6-BF3F741D92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E9F10C4-719E-4C5A-8050-F78AF47E2C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0E1DDB6-6C60-4866-9396-F10EC78461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71974C3-E05C-4511-B7B3-FC0C974863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09754EB-C8CA-42BF-9826-B58F9D92C8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C8B8AB7-0365-46E9-B2E4-EF31D2290C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A2A64F0-7FA6-4CF2-BB84-45A517511A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9A5B02B-3CF8-4D82-8C22-D2B1AB6D10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5DB57E6-3AD0-4BB4-84F3-0A061A57EA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9287E6C-8377-4AD2-982A-134E23C2D9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D52BDC6-F1ED-40EE-A7D3-0C03CFFF1D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4C81A96-708E-4F0D-A0F9-B534E83146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E5CBD31-0236-49C7-905C-782F9BC470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1B14535-1289-46D4-AE27-F31F839BD8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C9A5A4E-6C57-4F70-9717-8FACD5F1F5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BC9076A-8BC9-47E5-AF0E-F3D5BA1CA7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2F21C2A-99EE-407F-BB4B-4B7EA4D106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A5A6FD2-C610-4931-A9F6-DC054ADBF3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8E0161D-E9B1-4A7D-AD1D-6A65AB4D95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7BF124A-A535-4A7B-A1FF-4FB51F0510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8EBAE32-699D-4455-B12D-25BE42C19F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26FA1CE-BF37-4CBC-A109-8DA6C5463B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829369D-4609-420F-BA4D-BF78E1B4E9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DEBE2E4-B1E5-4D1D-81E3-0B36C2F57F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CFC840A-CABC-43A7-AD65-FB30A79765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9676695-2019-4556-8C56-F7F8276C3F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3678531-DACF-4DA9-9C87-A265DC8D69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D4A9B37-911F-43E5-9CEB-08677E3740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024AEC3-D6EA-4CEE-9F1B-3E7E89E6B5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20045FC-F218-449D-9902-9519DE4E28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71298C6-11D2-4FD7-A83B-6454D46E2B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973B4B2-5A6F-495F-B3F5-5204549F37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D22D8D7-F1E3-4C35-AD66-D4F7C99AFA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3127CAB-7F0B-4A30-A38F-2599278651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20897ED-DED1-4208-9166-A3F8E764F6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BCEDE4C-85D3-421A-A267-F4D8377F9E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B9100D6-4C1F-43D1-A27D-DF96FD36A9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1448BDE-13B9-48FB-AF9F-1562A1AE6E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AEECACA-9B82-4753-B62C-C2A968A603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557FC65-27B4-46E3-816C-826DDA6376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04BCFF5-F59C-4A9B-A825-7308AD9249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63CDE8D-906A-4F87-93FB-FDDE717E77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2704E21-D34B-4949-9DC1-AF02266B6D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39AC435-0370-4374-AE04-6054DFA4FD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913B4AA-C0E6-40A8-AB29-2238AA9C29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798FA48-AF07-4625-93D5-32FBEE8084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9AF5D09-F5E1-4ABA-A0EB-5E31FA61AE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8412D56-BEC6-41F5-8AFA-38BA1F9870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E89FA5B-6081-4F87-A406-060267A890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D336801-9CB8-4F28-A40F-AE721780F7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61EEE47-AE2C-4DC9-AE86-DC3D6C2E9E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075AA2F-3203-4561-819D-AED6023C44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63AFAC2-5FDD-4D0E-A755-49C199DCF0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A8ACC27-16D8-4076-BC89-8839DF97E3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6C8EDF1-D93B-43DA-80FF-7A20026DB1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E7A3010-3DED-45FE-AF62-EA2DFD9AA5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0414DD6-3908-42C0-8C39-77C8B88C62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4118AFD-107A-4D8F-B20C-EB99F44B6E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50BBDC5-0BBB-4880-8A73-59D910384B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6330AE7-3776-4779-A905-02289AAB90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A8A2525-D127-4717-9A6F-E3D908D875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60DD871-9A95-4D46-AEA7-C22CCB9826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A9FE149-4D28-46A4-9AD6-5FE404E135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1D52679-7AC9-4640-9AD2-AE67585668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6B55A54-EA84-4696-A1CF-07D2C939BE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C89133F-8F88-475D-95D7-4DDDE58CE5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456DB37-433A-401B-A035-13F41A10E6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DD15D65-595E-411B-A18C-1E3338AF57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5259926-9590-42FC-9BC5-69D44C0AFD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AD87AC8-2DEB-4911-BCDF-D713B10F1A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15A2563-B623-41C7-A9BD-5011F43EDF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7726EC0-0C1A-487E-B076-7DE1E751A9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9BBC0EE-BEA6-4174-84F9-4F7F9AB717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E022E22-0AFA-489E-9C51-F56988FFC7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B318F8A-CE69-44B6-AA8E-72E007A346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84303E6-AC95-4D42-83FF-054E721316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9678F70-1A96-4151-BEC4-A1FF23232A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459323E-7A61-43B9-8F7B-ECB67D6D9F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BB538DB-2133-47F1-AB73-938AA651E9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F9568FA-3979-4740-BE8C-6BEE85952B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89AE62A-71CA-4682-9D29-28F7149E22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0749F69-9BF9-4788-BD79-E6ADECAFE7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A8476C7-2C95-4C00-9AC7-BAB2376AF3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588E197-D103-4D58-839C-D9FADE720F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6EE5D0E-9267-4B55-A2D4-5BD8827627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6956CC4-58B1-483A-9EBC-5C6D2BA1A1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3354D7A-12F8-46D2-9C45-6346D44DA4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48567CB-A4B8-4BFA-8D67-0FB3F97FA0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9065587-D396-4693-A471-C3BF3128CD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506110E-36AD-40A5-9EF8-1983F4FB07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9380575-20E2-4473-A6A0-B0A41BD6F8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1A6F4EB-33E1-47A3-B6CE-E850D550E3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97E807A-409D-414B-A237-9965645175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C2C4881-C5DB-426E-AD47-84CFADA28B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8A2D23F-F5AF-47BE-87D1-A50A6193B5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DB8866B-11B2-433C-A88E-517A09985C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DCB90BD-BF54-46A9-9937-ECA12DE4F8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59201B6-2628-4BBE-AFD0-1AB9978F29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E06EC04-B4B3-4039-97D4-409F8FE211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543941E-77CC-4D7D-BE88-19ECCF34F7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3549722-D3D9-444C-B707-BC4E3DA3A7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AD44C1E-D6EF-46CA-AE03-D5E2EFD145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DA09272-F01E-4C9B-A3B4-5AEED4882B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A0A48B2-E399-4D35-8466-5D592A4AE4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561CBBF-B3E6-4F1D-B1C9-1A96379EE1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0275271-2E02-4CCB-8145-EAF0CA5EC9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8C6A37E-25BC-47F9-A504-D4D4BE70B4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752D365-04A3-4100-B960-C39A7DB31B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7F19438-E23D-4F09-AE9A-2ED5829AB6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A4D21E6-9759-4634-B4F6-EE80E75725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BDF761E-C77D-4F38-9A83-04EF08C66F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BE9CD0B-6A73-4492-8AEE-739496BBDA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CD90D16-A240-48BB-B69C-1D92AAF271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F94D3B2-E7E4-4AD1-9455-39135A98C8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1771D76-267C-48ED-B24B-C6B758621B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310A85D-5F5E-4E0D-88D5-B5D3F4253A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77390F7-F166-4B4C-894A-D5DCE324BB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3A962AD-EDCA-4978-A6C0-B73F3EE679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20FCC1C-5C83-4590-9104-E6D125696B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21EB252-46AD-4E54-8738-9397E10F44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F47A853-FE82-4FC6-B195-958B250A74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BB60047-A492-4CFA-A224-FCAC2D5204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A6ECB73-5873-4AA0-806D-57DC97DCEC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7348FE3-7B03-492A-AD4A-8A92B01AE9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2939591-5EF7-40CA-B7DA-94BAB49F33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13A6F3F-3698-41C2-928C-4E7FDD6980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D337EA2-A03B-4AB1-8FBE-FCA8D100F3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085F1C0-CA8F-44A3-9276-828A7E02B8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3EC4182-2A62-47F4-BA13-E95C610070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40560F4-AAC1-473A-8DE1-D48E009C66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06E8F7A-423C-4229-B665-3D1EAB67EF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51FD341-E3B8-440D-8F77-E514825FD9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4149387-DE03-4F16-9451-12EE49C66E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D4BD729-AB2B-408D-9D63-7A7CFF0458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AA2A839-4B0B-4AB6-85B9-F858E5ABC5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71BEC65-675D-441E-A632-982EE906B3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0BB8498-A810-4A13-B5BD-4AA87ED03D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2F5B752-D3D2-4C64-8301-F662582F86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DE7AFFD-73C7-4168-BCC9-5F27793108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0B1763A-F502-4DFE-8DB6-7FF84B99DF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6D2D81E-5014-4439-B6F4-656994BE39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617D11D-C8D4-485D-86D0-A008955C97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F3D50C7-1990-4EF5-8ACE-3584B12C24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C5D9F2C-025B-45B6-BBFA-5C81CF7658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A39376C-46EF-489E-ABB0-415BF31780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7F58795-1BDC-4336-A716-65AEC122D2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3029F98-BC74-495F-B9D1-37F98EB2C5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3668570-2272-46E3-B99A-ACF1F95100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2511AAF-E5E4-43DC-8C69-1BF44B3E2D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D37A7A4-008C-417B-B3A6-99AEA6C6C8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51BC07C-D9ED-4CD7-83D3-F451D9F394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4982263-AF9E-4D6F-BBC3-17CE345BBB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49EA3DF-76CD-430D-AC8C-2057F797B2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FEB2589-95F2-40ED-8C77-ACC25751AE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F0890A8-9459-4D0C-83AE-5A0B5540B1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3EC05C1-8F4B-41AE-A91C-B139B7B568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CBCB735-8976-400A-8087-10DE6C4CB2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F6ED884-5D3E-4929-8840-9D0C11B332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B05EEAD-3B59-4256-B954-9154F7D4AE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A8AF0C6-9A3F-4F2F-AEFA-E2538558E0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75F2E95-84DA-4D53-970A-936893F21C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47F6A77-93AE-41E9-9B15-DBF2755865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C205BDF-A3F7-4DDE-B776-772C4704D0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F1E8739-A47F-4FE7-BDC8-A26D0128DA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44F07BD-EF26-4A7E-A839-4785CBCEA2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BFAF841-56DE-4B6A-9E6F-BCE45868C5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B590BD9-4435-4DCB-B638-F73F4BB240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A4BA678-1B17-4B76-99E0-62F934F307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EF5AF10-681D-4605-9EE4-6FFDF6F7F8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3A3D6A0-549B-45F9-A522-40BF76E21E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08573BC-2B67-441D-960E-21587F71FE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2196CDC-C606-4784-A941-1D1F2FE4D6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5084493-2E82-49DF-A216-A9F7F46864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ABFA461-76E9-4041-97F1-CB5F0E4AB0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9D81792-6D66-4009-9468-16CF4E8F06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A45C406-951D-4331-A525-4263FC6BCA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E53D593-75D0-4F93-B90D-E91709D84F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2092988-8A32-4374-A959-B63DACD076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063CA0E-4E5F-41ED-B500-D01883A29D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7340828-A996-4B74-BD31-237086468D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134F7CD-812B-4ACE-A4DF-E693A40C7F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234D9B1-F6B9-4F80-9923-0CE92B2E3D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9766239-914B-476E-AB86-C33553F5E6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817AE3D-CCA8-4372-986A-3F2D987B73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0E018F6-548C-4E20-B8C8-98692F51EB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0B607B4-E107-4818-B8F8-8172660F02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0A0127F-727F-4B49-AEAA-1F24726090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0E3CA7A-3B90-4BFE-B31E-CA36AD1B17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BD89589-4DBA-4362-AC37-6AF170E95A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81ADE42-6585-44A3-A7D0-017907D1A9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3BEE4CC-5916-4D4D-8489-D904FAE685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2E765F5-5279-41A4-A488-F9544C8BE6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27D7A02-44A7-4E19-95E8-052FFD3BC9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9CECC2F-0EA2-492F-B487-94DAF6E19A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12BDDAA-CC90-43A4-9970-53C8C5A6AE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BCC6316-79A7-4808-97B1-3B700E9EEF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A61E333-93D1-49E8-8515-F6DAB3B516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11B163D-6AB9-4FC8-AD22-F8E86EB531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76AC664-E770-4410-BBA7-2BD4D5A179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8E0BE9E-408E-4C41-8603-22A2FC20EB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DF88051-A373-4A6E-92B3-8FDE256B2D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A2C6762-4940-48DA-B8BE-B44F7E5055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4050CA4-F877-4EEA-840D-18F8D09191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CBFD63C-43B8-43EB-B8A8-5DD8C9E5F7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E966A0F-1A9E-4C2A-B213-4F3E2E8CC5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8A6491F-2188-4EEC-AA71-60230DFA3B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EC6E1F5-28A1-4038-9154-97846A92EE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9FC1542-1D52-4502-9B9A-404F9D94DB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2E4B0B1-7A2F-4EA3-8F49-123D9E782B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D904E7E-4CB5-426E-B186-F660102668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FF05A1C-BF76-4051-BC9D-58E06BA4F5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849B08C-DC54-404C-A56B-1FC9101436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D2D3E6C-9649-4EC7-8E45-7E2A3344CF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22A6753-AEAC-4493-AF4F-792635AF17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3410B08-BF28-404A-99A4-D6DFB1360F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3860D58-C8DC-4A0E-B172-C2BF02A602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8E780A6-36DD-4EEE-A66F-082A8AD576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57EF94B-C02F-40AD-B6E2-5843B6EE2E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2D92DE7-F1C0-4B63-A449-9EF6D25230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4EFB152-0E05-4881-8FFE-845B5E8627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3FF566A-1E15-4DAF-8C14-535B03F967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72D1019-DA90-4D39-BCB3-3BD1524AB1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C369A86-99AF-465D-AA63-E50EAF723B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626BF05-C6E3-4C0D-82CF-521C92C801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39F1A3A-1FE3-4A32-8836-A3E9C7C1CF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1EC2A12-C4E0-4338-9BCC-74AFD9120A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3CB4967-2856-47BA-8A5E-E574E59A3B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F748236-EE5F-4BE6-BD6B-7CA15453A1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2A7995F-5155-458B-A39B-71B552C1A0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BAD181C-B52D-478E-A703-9B7BB5CF7A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82BF1B0-F4FC-46B9-AC6F-724FB26C07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34AEC0D-D9BA-44D7-9205-9501123056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5CB79FD-5B51-461B-8237-5C0792BBBB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1BD1C65-F874-48DD-A6D0-1E7CD68DF3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C311565-60AA-4C4A-98A5-5289D35650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093C07A-316B-4160-BFC7-72E3ACF82F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012A209-71B8-4398-83B1-C9A3DE4456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1749CB9-C184-4569-99B3-EADA2794CA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5AF820F-3127-4FD4-AFFA-68C60BC3C3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35B22C5-79FA-4285-ACE0-BC22579D11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499BB7A-616B-4A98-B237-2B649081F5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D9BE3BA-6646-4DE9-A5F2-562927022B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4107AFE-1E10-4A1A-B277-256E18D6C8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DF382C2-A320-41FF-BBA3-1F8C0FBC9A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2536AE2-B90E-4A5F-A439-1D3025AB0F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82B7269-C188-47B5-9414-2E321CBE45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507165D-BD39-4B5A-8143-1EDFBADE3E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37F8D31-9013-44A5-92F9-BBA74E909F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EF2DA09-6177-4DA0-B3FA-3DB5140534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03D9C57-20D3-4644-A083-523161F20E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E486F7C-87C4-41CC-B898-D6A0D84361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8A653B3-C513-4DFD-9193-7D4E3B6F22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A67B7F6-4319-4700-B7FF-1040375034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D3027B2-2810-4368-9CE2-51CA0174F3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AED924B-C35E-4D8E-97B3-2D6BE50BA0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FC92339-2AA5-4E25-AFD0-05D96C5BF8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ED8BF9E-B2F5-49A5-B18C-B2ED559049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0FF166C-59A3-4489-B974-BAE481605A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9DB36F3-4A0B-46DE-829D-562A9670B8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BE54BC7-93E1-4051-BC82-58EF0D6266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C5F9395-7095-4DC4-BFAD-A65B865DFA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4ACE707-35DF-4689-BB88-4131552207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F1CC04F-BB73-41EF-A8AD-3CBF8D61DD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FD4A001-5701-4B19-8DE7-90E5D1DD26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70D8236-75B9-4A16-867F-EE47CBEEED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23F5B8B-F964-41E7-ABE4-C9DCBDB778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08F1774-A1BE-4489-98BD-F7F8E4A169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1CB5EE5-D832-45D4-B004-D75DB34E34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370DBC7-18EF-441F-BF33-A0691EAE2F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84CDBED-7CEF-41AB-AF9E-6E24835345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C0006DB-795E-4378-9B5C-EB80FD4456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0C17DDE-72D5-4E04-96E5-A71506023D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ADCC922-1465-4082-AEAC-2FB44AF568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757D560-A595-46F8-9C04-90219B980E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D56292B-567D-4A41-B45F-38F7EB9D68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96B00A8-58BC-4137-BECD-9BBB2B86F6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FD71D64-F62A-426E-8083-A167EDE37C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714630A-D442-4244-9F3C-60BB5C9177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90AC690-9147-4692-8E26-B990F5ED43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0A6F971-C77C-4933-9E40-86E341FFC2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F6CEECD-57A1-43A6-A22D-E4DE9CF1CA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63F4488-2F5B-400F-8DAA-C155E45B6B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EB4F333-EB65-4EED-8AEE-9EE620ACD5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AE5BC9A-91F4-48EE-9242-C7EE809FB6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653EAD0-0C55-4753-AFA3-BB6CD100A5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0EEF755-E234-49C1-A694-DBE14FBB28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384278F-BB57-4017-B301-F343648960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F41433B-607C-44D4-B08C-FCBAE42F2D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730359B-5F6D-47DF-99B8-5245E1F7E1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1321AF3-6656-4B21-9D26-CE7DB4DC44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AD06199-01F3-4A12-A063-02B027C64A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F518E58-21EC-4301-A858-09AED74C9F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DAC1F29-5F3B-4450-B971-AD9C1AFE8A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D922A0B-E3F9-401A-AC45-06A373587E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BA5D976-BE29-4E64-9689-A30250E409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9F2C230-E8D3-49C2-8331-76E4D5BAAF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C47511C-8168-48DD-A328-FB0DC200BF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476D950-148C-4665-BBEA-DFD51D3F3D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FE4426E-70E8-41D2-B92F-28BC894ADE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4B819D5-6326-4A46-A3EF-41E7923C87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DB494B8-C898-47F2-98CB-7E6B3FCFAE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ACA92E8-421C-4FB7-9B8E-38F1D164B2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D8A39D2-1484-4D04-8358-F549B63F80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673C442-5E12-46AD-BBE6-D2C03DF84B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9D869B9-DCCD-4301-978A-1C7705EE8F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B37A332-DB17-4CB9-97C0-F9313C9A33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B4196BD-86A4-44A1-BEA9-8BFFBC25F6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4C7590F-7227-4505-8CA5-716948DD1D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38BFE9B-C867-4F5E-8C75-8F16059F8D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FBA4C7D-8BF2-4D21-ADDB-7AA03A9AFE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F52002C-1782-461E-89C7-19DF5440D8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1F4FAA7-F30D-4519-AA0C-D6C343B8C6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141AA70-CB1C-4AD4-92B1-C6D0410003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2E6ED21-8CFD-442C-AC86-47E05A0D86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DC05BA5-4B9B-42DF-BA5C-E934055F40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424E6AD-12D8-4026-A641-73A7380831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013142E-FE8B-408F-8388-2AE63DB40A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D75D6A8-E9A3-4477-B819-27FA37D64A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3611CE9-155C-4BE3-9148-0DC05009CC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5830D5D-0912-44F7-B05F-C52F8D7289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096FD02-2029-49C3-AD03-2E94E31FFC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90B23D9-AE66-42C5-A651-DE3BFDC1D7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378AD47-CE13-4024-97AA-B668511996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8E80980-6D75-4496-8321-F035DCDDC1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2E34157-6DB9-41A9-8051-5DE2F1A968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3E9B745-35C5-4345-9399-EB56DBBF49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6F60D4C-132A-49CB-91E0-CA37A74AEA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69B45BF-3BAC-4B52-9CEB-6AE3285122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A9DA208-89DB-4008-9550-D2C806FD67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EB4715D-071F-4DD7-BE0C-6224E0AEA6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EBE28C7-0CBE-485B-8E03-27B61B8758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B4A7BD7-D5DF-448A-9F79-DC3CEAF315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C4687D9-083F-45B4-A0DA-1E2B0207A8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E5BDB83-B11C-452F-A49E-B3019D4385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ABFA1E3-7E66-46C2-8559-D15EA8B630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86BC979-564C-44FB-AEFA-E66BE214FF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414F53D-201C-4AAD-A430-AFC970603C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19233A2-7F5C-45FA-A07B-547D096650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58E5DC0-6B9D-4A87-88AC-668A25717A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026235D-B247-41B8-B333-58FE23E5F8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9B4CB5B-B610-42DE-B8D5-62E672FA25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EF773E3-E689-46CB-96B0-1996DBFCC0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CA22F83-8A54-43CE-8A6B-018F4D8B76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A92C53D-92E7-4364-9B91-6067FDC80D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0018B03-184E-414A-BC69-14566951F1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A8A78D9-FF15-410E-9B78-B254BFFDEA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27FA4FA-8979-4902-AA07-3313E0F7C0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FF1B584-9CF0-45C2-AA19-8D557156C4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D403B05-18EB-4F80-9D15-99249F0B80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90C9FC3-AC35-430D-B120-19F686581B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395AF91-C534-49A0-A0C3-F06BB19A95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1B7DEA6-3ADA-4EA9-A653-7A18EFF5E4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49D3FA1-D6C2-43BE-BBE3-40B236E2D1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9791CB7-46B2-4923-84FA-6A03461358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6FC0472-8795-474B-AF0F-2715B1FE21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A0D7EEF-1188-4608-B4E1-475CDE8E11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C9F31D7-6FB9-437A-874A-382E6D1FE0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5263D50-FC20-4AA0-9C5D-FD2BF0FF79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F946F2A-A255-47D5-B4E1-A2C89735A7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D9D2FA8-53D4-4927-A607-6427AE1378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96753DD-8B48-47CD-B9DA-15FDBA85BD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85C571C-4C7A-43DB-8A9F-DB5608F26A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EE55914-A474-4A91-804C-80E536F1C0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0209D46-9BDC-4625-9217-7D02B7836A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E2B065E-C78F-4D25-8FCB-7D51B845AB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FCED918-FF07-4255-85C6-A21A5000BC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145714E-DB99-4C83-BC8B-B6FF8D430D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8039BB0-A248-414D-AAD6-3C1F57804B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917D70F-106D-4087-88BF-CB40E4EBCD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D57987F-CFCA-40E2-85A9-546DC35639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B693399-531D-4F54-A4C0-22E2FDE495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F672819-154F-4A3C-B610-0D80ED7A36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E0CB260-5AE9-4046-81A7-9968028DDC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029879D-5050-43FF-AC57-9C04A8CDB0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C3317F9-1572-4396-AD74-E56370395D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F75178E-EB7D-4E9B-B970-C6BE5D452E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316DF5F-320A-4200-AF74-52EC07E976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9456F53-79C0-4DB6-A826-763C9559C6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36F9FE4-A224-4FA1-B34B-8665F677BC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D6E8D37-9A25-407F-AD8D-6781A020E4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1907FD8-716B-4AB1-ABA5-74A9F437CE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86810C0-987D-4B77-B931-E96850A611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8C29DE5-92B6-44B9-A6B7-5A77255F21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88AAC82-559D-4F59-9518-B2C3FFB34E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8C8A2C9-A3A6-458B-8EFF-78FE35F2F7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8DDECDC-384C-460C-B93E-F41F87A94F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B10114D-0325-4FAD-A046-8AE382FC7E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1640A52-14DA-4A11-B9DD-3A5FE41EE3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5EAB59E-7ED5-41E2-83F1-70FC449846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1DCB0AD-EDCB-4BB7-AA0E-87DBC5FC9A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127925C-EF21-4FA6-A56C-3ECD655A51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4650999-075F-4155-A32A-FCB9DF73FD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8EC84B3-7C6E-4344-86D7-6CD40449FC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8FFEC07-9F0F-463C-A1EE-0D823D869F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7032E64-0663-4143-B80C-89C29683AF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03847AF-6576-4CE5-8F08-7AF0443196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A74C28B-9483-4FAF-BCEA-CB183D44B9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D80C45D-3F8A-47F3-B684-D083078F8C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93E3EA6-D61E-4669-83C4-CC599600DC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1117D0D-5898-46A7-921E-75A1B102A9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63F0A1F-2D1D-4800-9C8D-E1FC16D5E2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FA02BF1-1EBC-467A-9629-797144215E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D6872C5-6F62-4D79-8FE0-25D8EE8930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BCA5B4F-BBCD-438A-901C-3ECC18A16B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919A4D5-C99E-47BA-923D-C3F43B06E6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018E8D0-0D3C-42C2-8093-A2E001E33F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CFBA63F-743E-4E26-9FC7-0BC8061473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6BE560C-5A68-449B-85D7-21740740E8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88B3B62-B8CF-4B0E-990D-FB5F543AC8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FD4B9BB-7481-440C-AE98-394540681A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D143EF7-B889-4007-9827-5A4F15F7F3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D8C8E23-41FC-490D-8628-218DFF2652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49DA86E-40E8-4FE2-9D8E-F847E463F9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31EB01B-91B3-4A5D-B628-CA9024BF5B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5AA2049-04BB-41CA-8BB9-8AEB83CAB5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DCCC0BA-A69F-4E72-9153-2B0C83B2C0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C68A6FD-066C-46F4-96CE-3ECCC61425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4814E24-6CB0-424A-BE96-3946F580C7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1A4D101-6358-4EF4-82A8-FC85B6CF78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D2D45BB-32D4-45EB-A791-2915324CEA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1BC504B-CAB2-412E-B506-DC7F087284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E82C13D-1278-4F56-8448-A89462BE6C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4777B0B-189A-4583-BF61-0C5FB1340B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66A200A-28B9-47A5-8238-99CD3EB533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D87BB84-72C4-4B08-85D6-530D169A7B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ED3A4C5-97D8-48AE-A5FB-ABFA0868AB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C60622A-3860-4F6E-A9B2-B85302554C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A6E2BAA-26FE-47B5-8B3F-9A5C3813D7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3500F93-D4A1-478F-9458-D81EEC8D29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563C132-5939-4B17-8852-ECBE4F1B8E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8627284-8421-47FD-AABE-6645F26D71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C2E0466-45F9-45FC-BB04-DD8F1D8CFF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6A64DDD-19B1-4AAF-828E-98F956DC9C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B542C2D-E64F-461C-9D71-4E6FE2F3CA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D63B625-8CC9-499D-AD39-B52F977089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2508D09-B054-48E0-B9B3-02107076B3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1C63D75-9DF5-41F6-BC8D-AEE7575159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12F458D-4342-4653-A0CD-1655A59B26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F5BFFD0-21D1-4D59-B3FB-C91F052A49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3B6109A-2FB6-49F3-981F-6A23CC8477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5E2BD1D-4FE8-4B96-8C07-B8141D4701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48259BC-88B5-4E44-AC16-E70AFC60E8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F68D808-3D83-4898-88C9-BDE585FB10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921FC46-B615-4426-9C9A-512071A3C8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F026FB3-8463-4117-909F-3B2593F1EB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EDF2447-EEBE-4CD1-B348-BCB88745A4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A534A09-1897-4D31-BB97-D3C80C512C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E12D6DA-0179-4286-B44C-8985368DD2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9842357-A4BF-45E9-975C-F102975B82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2A22F1B-76A1-4E57-8C9B-E5401016F6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73B580D-2D42-469B-AF6F-7ECC968115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90B564C-C80A-41C4-84CF-20854F6B8A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B651FF6-4FBA-4674-A429-7BA8A77294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39B39F5-DA4D-4029-B49A-35DE94170E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2ECF323-4FE8-465F-B85B-EF1EA0015A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7B82D5C-0C70-4360-970B-36AD42F10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CF74FA9-CD2D-497A-AA8A-271269EB9D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BF54808-D6D8-42C8-9251-FFD4F1063D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3C4C65D-D13F-4D3F-ADE1-235DA23039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9096BA3-EAFC-4C49-A443-14AFA2749B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EB7D5B4-EC55-4D32-A131-AAD6FA3BB7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3508308-A0B5-4650-93B6-EBE8A0C447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D1886F0-B8E9-470A-8797-233074D195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A4BC13A-E1BA-4C8B-B8F1-A770A38DA8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CB8D8B5-D404-42EE-82FD-6B95FBE4DE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4BF8A15-7A4F-480C-B26D-563DDA7DAC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5462854-444B-467B-AD0F-56ACAEFD82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05A0A75-E7B6-472C-BB18-FDD5A40653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052DEFF-156C-4376-A28F-3C68AE0FAC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2E90AAB-FFD7-471F-999D-DBA07D73D1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68A4A0A-6F16-4C01-BF7F-D2E673B46D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FD86821-36D0-47FE-9EA3-43E06C5201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339BA12-4DF2-458D-BA30-DAA92F47BF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C6F58A8-942A-4639-A772-781E1AF231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C704CB4-1F72-4F21-9B9B-D4797003A5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7B4E621-E9AA-42D8-B60E-826E417047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6423A90-3A07-4CEE-B6CD-C13CDE4E5B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06E6AB1-ADD0-4D1F-8CA6-3CEF22FABC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FC27E37-3DA8-4690-9370-3021E24AB0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B1DD875-A0B4-42EE-994F-D241268613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98C23B2-6A0F-47E2-A3ED-12F4B42188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FD8AF1E-6B22-4392-93FD-0EE956EA2A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D4D873E-F35E-4639-A9FE-03541AB040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A067CA6-9943-4F81-BF71-3A8490A59D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28394FC-9D9F-4746-809D-673CDF90E8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BB50771-8426-4810-890A-1DA5997674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A3A79B9-68EF-426B-A32B-CE8FE635E6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212C443-6F10-4F38-B65A-C6C25354E6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43E4634-C1EE-4D8C-B036-941660D6F7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993FFB5-ECF8-4306-9685-D039A3C8F1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56B14A0-6C85-4186-B7BF-1D2E350F7B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492D09C-7752-41AC-9A4B-A5B62A0795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298CEE2-5C0B-4241-A1FD-CD2610EC94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09BAE65-8754-4D28-88B7-6E3FB29CAA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A4EE8DE-D0F4-41AB-9801-646A557B8F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AF4B139-DF32-4FE8-8B6D-27F710F420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926DA7A-5B71-4810-8980-91C27E9891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1A3142B-1DC2-41D4-8D19-4E5242E57D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0C5601F-8FC1-4CD7-B200-F783501449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F66625F-0249-4427-ABC7-81325AA867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099FA10-356C-48AB-A333-C015617508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4CC1128-CF09-4F4A-85C7-D106F9F917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D23E707-A268-40EB-BA0D-ED145DDEF3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E66CED3-343C-4423-BAEB-977ADB5858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99B5914-4E27-4D04-9DC2-3D076624C6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D8992EB-9B32-4A0C-B16F-0E58C6F4D0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C551C07-43D7-478D-A7EE-40B4938E98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CCCEA28-78BA-4F4B-9E6A-8DD3A1DA0E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A594852-F763-40A0-A164-B2099DAE0A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3DC5BBA-DD6D-438A-B056-C96AD54624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D2D098F-73CF-4ECB-AE1B-FE66B5FDC7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4A2B023-236D-4184-BFF8-396157336C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7C508FF-EFAD-452B-AF88-D63259A255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C045A75-DE85-475D-AA1B-24E059E95A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928B7F1-808F-4FCB-8A29-8DACED1165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A4C86EC-EC77-4997-8BCE-F01C6943B7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F0E9EDD-85F6-4B99-B2F0-F1F8E78A18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F0B24A2-55FC-4DDB-A85A-AD703B1F70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CB6CFC3-85D4-4973-8F69-E45DAA341B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0E8C8F8-9C13-487B-B6C4-DDDA76A781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B9098B4-9140-4BC8-8CBB-15A65D8EE7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DFA4C7F-0245-47C5-81E3-284CA4576D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362AB0D-80F2-470C-B574-F56F369A59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F7EB1A3-F13A-4F93-8DC1-E62EA72E14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B78FFED-9DC6-4BEE-AD50-A7D75810CC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39E7D59-2CD3-4CA6-A97B-2958C803C5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E3688E3-027C-469E-A7F1-F357A258A3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6676D10-BDDE-4E36-868A-37C2030F62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A851ED1-715D-4190-A119-2130467FCE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57BE3DC-3877-4992-9452-DA4DB3E6DC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39960E4-F6A2-45F8-9A42-44EF28AEAD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4023D41-3488-475D-AF23-DD92B45097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4A7ED9F-0C71-40AB-9429-A01C7269D6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825A735-01EC-4A45-9946-60AEF99F9D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DCE4999-905E-489A-B2E5-16909E1457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3BA7397-7D8D-4FEC-A932-6DCA593729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BB4CEAA-10BA-4332-8D7E-14ABA6B02C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1614786-1036-40B0-B54A-7E9C1960FA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1866B6B-D072-42A8-A019-311F75E2A8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32DDB1D-16B0-4805-93AC-64D3FC0CA7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A00CCEB-F5DB-4ADD-8BC7-EBB80D17F4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EFB4C54-0BC8-4043-BE96-E2034135AC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B94F780-44B5-44F4-86B3-73ABE26854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755D06E-B690-4F20-AC33-AD30D680A9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3DC9208-8A10-4C25-A8D6-A8C861EA71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DAD54BF-F674-4B1D-9865-2A350311E7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00CAFE6-78B6-4EA7-AAA7-20A4ECEC4E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8CD6C2A-308F-4B8B-935A-CDBD328AE6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47A1A3B-B3D5-415E-90AD-275C715DE5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C88018C-F395-458A-BE4D-A44AE33A99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0809FCC-8D21-45F4-91CC-66DE1C119D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7B83B14-16C7-4897-9924-7A7C8E2078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1A34449-B610-47DD-8E2C-69EE9616D9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95FF352-861D-43D8-8BB3-9F40CF4A23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5E936A1-5116-4BDD-BE05-B48B7221FA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EDD27B9-9E72-4FF4-A90E-BB3DFE32EC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F254669-E221-4977-8D73-60F7185F2B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51DB9AC-D271-48EE-AAD1-50261CDC17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194A361-BAC6-4FEF-88DB-F2FA14B498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0ED4238-606B-4FCD-A306-55CEA536C3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16B1E25-CB77-422D-BF0B-4A5969A12C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AB60513-F6DC-4FA8-8C61-9721D05868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63FA118-57BC-4A4B-9238-47391AC99E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4299981-0DCE-4F0E-B1F0-9CD3591F71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16C1698-BDB1-45BE-BCC6-2BBF023A3C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938C6B1-F097-4770-ADF3-797E40DF84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AC83C1C-E695-4888-BE59-17F225DEAC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1972208-D001-4FD6-9675-07C10704E8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B879A8A-2B0F-440C-9F3F-818542B4EE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4A34CB3-09B5-466C-9447-D8B6C06848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B313CD8-D48B-4FAC-B816-D5FFAF4934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B44451F-F5F5-4647-8DAD-8ADFC60866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9F90005-29C5-466E-A7A2-5C6CCB25C8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38AEC5A-BC2C-4747-B2CB-AEE88CE038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309E077-A175-42C4-9F57-AEC4EC311C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3EF0015-E2DE-43B3-B39C-3758DB3DBF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ACC38A7-DD60-4C91-A50B-507CEB3C34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7B5B08B-0311-4FEE-99D2-683EA4313D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0479AD4-905B-4155-8841-44E2FB6EA0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DAAD3D4-5363-477A-9498-407321DA7B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A6B4F78-5290-464D-91A4-4C1D94B1FB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17E43E9-9CB4-4786-9AC1-F0063D762D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5F93AA6-9402-4B89-A064-DBAC7BA714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459E3B5-AA5E-47F5-8386-DC7338DBBA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E141DC4-146D-48FB-A4F7-F621A81356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2226EE8-1002-4C50-983C-AF53836E92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A62374A-D05A-48F3-BC77-8840DDBD42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888A583-226B-4354-9089-DB4346E497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204D8D2-4F0A-4507-A629-2BE5136F5A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0BF0727-0144-4486-BE5A-8FE91A2DFF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9679F3B-3812-423E-9AB3-E309F0844F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9556A49-0CD1-46E0-B9AC-F1A769C518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3672040-F9DC-4225-A457-B64E827588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19DFA04-E8B6-47CD-817C-F221186C6B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2F65F63-44EF-44EB-A934-42022D648E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AB9A836-9C00-4C09-B647-08AEBE6454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4AA6E41-C2DE-4B1E-981B-5E425D3FCE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B7DBB70-9E1A-4316-BAE9-4229FFA872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A3FF2A0-C19B-4F39-B866-C8C16836FC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123FC81-5FF6-4327-A681-38991AD2C5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FA8C3E3-5E46-434D-926F-3293E372BC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D6FC7C1-E6FA-422D-B9A1-B0FEF9F4CF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99CD945-2F44-42F3-87C6-0FF5A79B6F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8EF448A-2082-4F88-A8FD-18087A5E3F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5616669-F0A6-46E6-B541-0D6D0C9555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2571FD3-8EEE-4FBE-8FB5-C86A44712B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3156D22-A06A-416F-8DB8-7ED45C8C9F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365E9EC-2B92-4F97-AE33-5C76FB6D13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A04D167-9148-42D1-86F3-4010E3F2FD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03DE36E-2C53-4704-8978-CF4399ED11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334DDC8-59E3-4DEB-9981-3657130CDA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70374B6-C787-46A2-B19E-A42B6D94FF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40E9D24-FA28-475C-9BC3-79C29EE5D4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8C16675-5A26-4917-BE10-6D025BED48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50D8DA4-63A6-44BB-AC02-B07E4D72FA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1FDA0E6-9327-4F8B-8100-BD7F8EF3ED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0FD5A6F-CE35-4F41-A12C-7E107821F3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CCDED4F-B29E-430E-B739-2D5A4EFBAD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10E374F-16C7-4EF0-BFB0-87C9CEF608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565E1B7-8514-4A87-ADC8-72976262EF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752108F-C2A3-4C7E-B65C-A5BADB99F1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2A5178C-00C2-4EE0-B3FA-3F75AB7D81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DC11B3A-52CC-4E45-BB4A-8DC0BD6CAC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9E0FC31-88F7-44E9-A0F1-EA094C07F6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1424E92-8033-4C67-A63E-E7885E04AB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ACB1F97-AF4C-4C47-B14A-6D469AE8AD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DBE1314-386D-4B57-97C9-CA3AA2B123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D2899DB-5BC0-4C1E-B6F6-C3460704E2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0653346-8F5B-4F76-8799-8BFE619974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0AE483D-78C2-4CE2-B6DC-5F3B1BC1AB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ABAAE6A-FB19-493C-9728-C725738721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ACAA6CC-1AEA-4D3B-A612-049F97B452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83D1695-B259-4AB9-801C-45FFFBB211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F9AA978-E2E9-4F10-B537-0B514B85E5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1D1223B-E04F-4E98-8C27-1321796B2B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3E38E3E-7243-489F-B7E5-CB82127104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BA34E7B-D908-4099-A682-19D4180789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1528986-3593-474B-8BF8-388CC18710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2F184AC-187E-4AAC-B35D-38B4AF7DAA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BE068AA-80C0-4862-A022-068F7CE8DC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4174CF3-89D8-464A-A32B-621FD001B2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2B6B7AE-F687-49C2-97B2-97286F0FA8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75C9286-27EE-4390-B58E-C419476FCA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421D02D-795B-434F-A561-43EB51827C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A6E0565-7018-4CA7-8A85-E676327202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8B5A06C-F0AF-498A-B741-817FD89361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CB8E9E8-5835-4177-AA59-39DCBAC3D3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4F6F337-ED28-4A51-BE7C-376B4A21C3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36F6CDA-5BE0-4F14-854C-4B8DEA5D11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75E4E5A-16ED-4763-AA75-C76F6E738C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6CF41F9-D926-47E8-AFCC-3094E2D283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79100A1-9AAE-4B0E-88B7-86270E98B7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A63C055-2A59-4963-B41B-DC1D002F53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6FFB859-4FFF-488E-8564-C3DD38D40A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944C765-A58B-467A-975A-AE796962F7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1045DA0-2A0B-4C50-BBAE-3579A1E9A6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B884CD6-A440-48BD-AB2D-EB2042DBCC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9DB129F-2F7D-48EE-A3C2-6F78501E51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482B1FE-ECEE-4F24-9C58-092A6C22E4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E81B8FC-4CB2-42BA-9278-B0566CBD5D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6F676E4-1E31-4F5D-86B5-54F0E35915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A4F8534-3673-48CE-BCC8-6C5A65D3CD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702454D-592E-4C91-A9A2-A0A59557EC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85B8FF0-4E4B-4D15-B3B5-00C69CF3EC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D244941-C1D1-49C0-AC49-832185E973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D1F83BC-9C74-4203-B299-D37F486415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8A4A1F4-EFA0-478C-809E-EAE96C483D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44358CA-DE52-44D0-91E9-4A832F591D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A86EBE0-C36C-41DE-A2FB-D362E70C84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AFBFCA0-0E0B-441D-A42B-4E0CFE7313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7416680-2E67-4B01-99BF-C7CD04B2DD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EB8F371-C5FF-4348-BBF5-B4DFBDB579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D1D9DAF-CEF8-45CA-848E-B4B2FBC760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D630E40-C86E-46D8-9028-2D9D6C1BDE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FB902A0-459B-4ECA-98D5-C17E3DF0A7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C01B490-C1F9-448F-84E0-7E74A396D7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E603EE3-1815-45B9-9AB4-A9FB09CB8E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55348EE-4C33-43F5-A516-ED5ACF8DDE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D57343F-5F8F-4B78-B0E4-4EC06B78F8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EFEC2ED-A4AF-4393-ACE9-64572ED278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33D5285-46B5-4239-820F-1ADBAE8E04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B04D374-D512-4070-BFF5-BF6AA555C3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F81A1E8-A8DC-4E0F-B0F4-C83AB9B6D4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93C140C-44B6-4867-8203-6904373E35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7A1409F-4EC2-43DE-9321-96EE5A7DD4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42A3BB7-B04F-4B40-BB60-4EC5B0F18A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839ACC5-17A5-46ED-A96E-76C4DFB061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C2576CB-4219-449E-83D2-4AB82AF9FB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653ECE6-1172-437D-8074-0707525B77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9C3CC56-9846-4F51-A065-EA99B70385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1578A44-BF84-468B-8CDE-8CE715532C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B41D446-D057-4484-A3D7-B2CEB9A7FA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481A6DB-6F48-470B-938D-0D14493747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DE900E8-B2CA-43D1-A4F2-D223875BCE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139865B-9D0F-4B8B-84FB-909B4D2DDA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15F74E5-1E1B-4B12-80F1-9165EDF62D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4D513FE-5517-402E-A5BA-9DD41DDFD8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04BD156-AE85-4E65-84D1-C0A2A98FCE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A10DF25-1F29-416A-BAFB-4F9A91DC11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0DE2E96-FAB0-43D6-9C77-14EA18CE81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C1E5E5A-7629-4663-B8B5-5D74CE6BEA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FCA70DE-D8DF-4AD4-95D1-16143D4FEF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C3356A9-DA1A-4E38-9FD5-72612CA20F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5928701-B427-46EF-9D0E-7BCC7C2BB4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17DC2BD-320C-4363-B943-69BFB291B2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A89D5D9-FB25-4619-A1D8-8918926C9B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907FF73-2F5F-4110-86DF-4E0C769ED0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2C2AD45-6E35-43D6-A0F7-C7101D7583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1E0B502-C563-43D5-BCA7-A2D3688878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BFFBF6F-E567-44F4-9D90-09DA6AF7B2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4FCF83E-E8EA-4588-81AE-8867964D6C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9CE2D03-83C3-4BAA-91BC-E92A861587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39A8F10-25B1-4E9B-85C9-4950BC09D3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B23BB6D-343F-43CB-9210-A79CBB108D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24F37FB-EED5-4609-A493-63FE1D22FF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4492AA0-C565-4537-BB7E-A7C12784F5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28CB14D-E6C0-4A61-9D94-BCBDD51694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84F402B-9F67-4F30-904E-02D8A50D18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D91BEBB-E6D2-4CD5-978F-5D8F9B4D60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64F0354-ED8D-4E1F-8ABE-25468BC89D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7F3209B-0D35-4B02-B0DD-D70F40569A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E6DCC73-F25E-4A36-9E2D-FEB8E689D3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908DBC6-7FE1-43DE-B076-8B70F6B17C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7CD0E73-CE14-4B75-8539-9E15882B6C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935EB3F-45F1-46B7-82E4-F8E3DA8237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46DB8D7-6CC0-4466-A525-58761506E5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F916446-F8F0-40A7-BA44-8AAEEDC659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4ABEF4A-6E14-46C8-BEFE-770A138319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56496C9-F01B-42E7-BDEC-84E05A6AB9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ABE0DEA-B41C-4C94-BABC-1C0A2D48A2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229BABB-83F8-4621-AEE6-1018EDAF2A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877B119-B850-4E74-9456-E71851C775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C6ED724-84AE-4F57-AD8C-8A853948A5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A162888-A4F3-4CB1-900A-62A4F5B6B2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55C2243-97AE-47BD-AE86-DE4B733CDC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407464C-0DE9-4DD8-9250-17C2FB7448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E9095EA-D387-45FF-8E22-99104F8947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E183A5E-716C-431B-A99E-A3A96EAC8C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6D2F254-FA72-41C2-B9CC-3C741E6545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6DE9D79-838F-461C-84CA-EDCDD4294A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279676D-A87A-4714-BC96-FCFC50BE05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D445888-005F-4313-BD83-F17FB52304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E23B04B-BFBC-4BA7-9E62-974677D6D8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68D6725-ED01-4D5A-9E06-677C1FD271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251530D-F7F4-4932-AF20-75F5FCFE1E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0503725-736C-4C84-A434-74493A5077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8EF8B22-51C0-4ABD-A5CE-479D360042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A4FF1A7-3E91-498F-BA8A-F13C1A5321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F1F1FC5-4F43-4851-8152-A6D6883BAE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C18056A-4984-4EDA-A66A-77586D66EC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7D79EE4-51F4-4FEF-85C2-CEA2716BC0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56DA5A5-9962-47BB-AF4D-AB30AE6165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0FC6C4E-1B8A-4318-8E11-CE5211945C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97D86EE-D71C-4EA8-A699-C857EC2285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21BC275-6220-4A73-8268-6CEDC52482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1CF8BD8-7788-41B4-AD0F-6C74F7C130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409261C-2D89-43A2-BD3E-14D4960D04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5323B17-BA4F-417D-A358-CD250AACB8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4EB9651-494A-43B2-B606-DE80F7FC96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CF460CA-961E-4F6D-8744-0D70F88AF1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A904E19-3C2F-4C41-8239-E8C9E36835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F57DDE7-1022-4C69-AB29-07F43ACCD2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CAD7BCB-0AC3-4252-A391-D22BCA56D2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C5C8D3C-5217-4B8B-903E-0A8D1F37A2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DBF398B-F2E7-4522-BEAB-764DF556EE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F5CCFDE-5E47-4A74-8985-1677D95225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3C34226-1EE1-4C5F-82FE-2248F27759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AB11F3A-6F44-46CD-A5D9-0C9500F141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F7EC0A4-7234-4C7D-9344-72773F0908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9FF842C-6BB4-493A-A4D5-8D2EA064FF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D9F90CA-53C1-415A-B464-09A7ACF6AB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1F08D0C-E3C3-417F-8A82-60754D8683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DDFC653-EDB7-481E-B70F-08CA1B3FA7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73081DE-167D-4922-9610-64AE873431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A31FFE6-AFA0-44C8-9644-5869552BB4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1F81CAC-4D4F-4EC3-ABDD-0DC0FB25DC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4B6AE14-5D74-4DEB-B4B4-CDB18C9E84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65DDF8F-169F-497A-B199-C41F50C045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70E89FC-2FC3-4F58-815A-4FF1BD5FF1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4572A04-A844-404F-87A8-3C93AD1456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0FD7FE7-6D80-4431-9D90-F4051F655D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AAFD0DF-19A8-4968-BE37-1F7980CE4D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4B05920-83D0-4650-B259-4A6ED69C36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AF6CE2A-8D1B-4A90-99C4-A0515BA0BD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14834B1-6FD7-4FE1-8B44-D53FF77712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DEA7298-8098-4DC1-9AF5-492C893A97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30F327C-6A11-4122-A628-704AB3CC72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3C349DD-A40D-4D94-B472-9237F36AA9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2278107-5E2F-4716-B861-DD6CEBCF01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8A3A985-90E3-49AD-8A44-A170BFA895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4AE4386-ECD3-4AA7-8DB5-3120C28E6D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F5186E8-4999-43F7-A6F0-7CBAD88847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A12D06E-D3E8-4F3A-A360-21B0CA584F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A73A5D7-C2AD-4D54-BDC5-15E2CF62C6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8D51ACB-0E80-43BC-B12E-559D47A108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B2AD862-26B5-49AE-B726-63360555A3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1203348-7262-4FB4-B06B-D7118B5ED0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E63F9FC-03B0-41C0-9183-C37A72DD85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E1D3409-6AE4-45A7-8894-04678208A8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C2C6702-784A-4857-B1B8-5092110EB0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AF8F2D6-C91B-40C3-9BC3-46DD4B6B8F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80B0E59-0CB7-43B3-A9E8-7F087D6460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3A91D3B-9ABC-41B0-8F5F-BFF8FFFAE9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39DC86A-1A31-4B59-83E5-D6376FD0B9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D79EDD0-6152-47A4-ACAD-C3672892F3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E9450C4-7DC9-468A-AE3F-99C3ABFF5A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B2F93EA-799F-4DE3-9A95-BC0B702B8B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D199ED8-D47B-45DC-B923-6F4CB357BA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C925278-BDEA-421C-981F-F4AD2D68D9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B6DA774-55C9-48CE-86F8-71334CAD73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524C1CD-AE29-428D-B61F-8AC4D0DC60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305F777-A320-4DDB-8912-5ACDC26710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E1DDE85-4DAF-4FA9-B9C0-DDBC2A0F16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5B0894B-37B9-42DE-897B-D5940A8E03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FB53119-B94B-40C8-8BD3-8D4E4549D0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B29BBE2-1455-4B83-8921-53A77C1D40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0DDBF1D-05A7-4981-9F7C-B7023359AE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37749AD-FDB8-42A4-9DCF-1BF804399D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58D54CB-AF45-4183-B84A-BB81B69039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26CE532-89FD-4DA3-92DA-BD7B77A5E4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77EBCBC-E473-4605-8289-2C89174C53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5BBC096-DBF6-4A05-ACCD-F16F1C9E2A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E1B19D2-EDF6-4C4A-994F-0A3277AA67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4D8C8AE-16EC-45D5-B1E9-A8C0DD2F10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B9CF3A4-2D3B-4EF3-BE57-55F9CFDB13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D8713BB-5ABF-4415-B1C3-B4FEABB719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0AD0D02-F19B-47C0-9358-C0757FADCC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61B8461-A753-4FE1-9ADA-0247FA6C60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8779C01-A548-48DE-BB67-B07D79109B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AFE6435-52D8-4D98-830C-D68E0BE3B1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1B54DA4-08A9-4D58-B223-8CB1401C36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2415C0E-6B9C-4496-A868-D94B485576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F142E18-FE56-4E3B-A29D-4375AA66C0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80F1AC7-DB83-4654-833A-1088698881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79A415A-5D71-414C-A664-D35A0CDF09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672D899-6A9F-488C-B4D4-BB78A1966F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B1B17B9-FE57-43A8-AB61-9B8F88F963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724D181-860A-4E9C-9203-218DB9214C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C3E9E00-C45A-461A-88DC-AF44697827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31EE7C8-2306-43B4-BB3B-A9723EB79B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4474113-E7FF-4700-A26C-5BD0C51F8C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C5366D1-9039-4CBA-BB68-5DA9E6E19E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1945471-3BEC-42DC-BBF5-EC8CCDE91E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CA38B99-1D0A-4BE6-8BFA-01AA93786E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D33FB3D-7914-4E45-B698-E7C80EAC1E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A77AB50-DD68-4C69-9AD5-0621640A34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3E775BB-D88C-4C61-B765-FE515146DA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44F1E12-347E-4708-906F-8853D9C8B1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DC48A66-9EEB-49F0-8DED-42DA5A372A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5E2FC5A-BB6F-4F26-8DFE-1982C77D67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A2D4BAA-6A77-4685-BD14-231261BB9F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85110CD-731A-4859-8B19-AAC4B5975A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53AA8D1-68BB-4138-8AE0-70F270ED6F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8A1E6EC-C8FD-4D9C-8339-D282CEC33F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BBF5952-3A63-4426-88B4-DD1284D0E4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06983F7-BF0B-4371-B711-18B87CC2A7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DE9700C-3D71-474E-8A5B-A225681661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864D24D-5402-49A6-AE49-CEC403DC99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1F3235D-9504-43AC-B8E8-52BD5B7182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46E9C44-5ACE-4CBB-B127-B6607BA942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21D36AE-DCE3-4F23-BACD-DF9A02F72A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23A3C8B-5DB3-47E8-BFE3-2802945324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7AE0EDB-CD82-483F-9495-35755AD0EC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7C7786D-F7C1-4721-A7A0-5B8CB47672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BE93C79-E71D-494B-81DC-377CF2AC9C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193F770-FE21-4A87-BF12-98B298AB16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C561118-EAEA-4565-B8CD-472AC0F4C1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1A70F50-CFA3-4EDC-9E7D-7C57F319D2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F0A8044-344F-485A-BFCC-0CD8C5C80B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F45C7BC-E01A-46A6-A4F0-ADB9D5DBFD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AC7E7A0-0095-454F-86AB-3996FF33DB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F15DC2E-D864-4488-BE2F-C37F877EEC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D9C2F27-19A3-4ED6-97F8-C4ED5B674D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F3518F0-CAE8-430D-AEAE-79A51809BD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BCEDE44-C1D2-4563-8D68-1607015D2C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0C54273-A9A6-497D-B58D-63A7E553F9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0D07779-A205-4AC0-ADC5-CCE6E83E9D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7D06294-D12B-4AB3-9571-90A914656C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2168809-5541-4DA6-B450-9FABEB7414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81FEA92-3160-4A53-82EF-D1FE88E134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A3C41C5-EC86-4D1F-8F38-8C63255797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6C8B17E-34A7-4B60-A6AD-D6974A3777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66D6561-40F7-47FC-9B87-19F78E47F6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CE8BB40-396E-4F20-9066-8F4FD4BAA6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0E07FA3-8388-468E-95F3-0929CADF27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E90CAB2-484B-422B-9130-0867D445E0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16B9DB1-63A9-4E4A-82ED-EAA4BC94DF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D46884D-4E1C-4040-90D5-29CA413080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AB68206-7CC9-474B-AF9E-91946D5ECA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B67FC1C-02EF-4DAE-98D2-7F78781B55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4E3C34C-F232-46D4-B3FC-CB8683D9BA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D8134FF-90FC-43B8-9075-5EA0590053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8D3E10C-498D-4DF8-BAAA-126F0C2B64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B6D7355-CF44-49C0-A3AC-D1E428F382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ED116D4-4F62-41BA-8672-14BC542CC6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636D49E-25D7-4254-ACEC-73FEEB3A59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D241DF2-E64F-466A-8674-D5377C2060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23C7AA2-05D7-4BED-947A-2D157A7BAC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A289419-F1DE-415C-BD2E-899E248A45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C5124FC-D3C0-48EE-94B7-CD763A18C4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139EE66-A712-4E28-A386-D43179329D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C42EB21-D5FF-4EBD-9ECE-6AF06D9813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2E76378-B3D5-4B0C-B4A2-B5D24DE5B2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D52F48D-913E-4C29-BFAA-4308A50EEA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4202694-71C1-43C7-A70F-A552254E5D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8BB7252-0DC3-402B-B07C-8482388058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5DF3C04-7319-48BE-9F3E-4B5DC3C9B5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FDD7C6A-61EF-4A02-90CB-9D7CC385EB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257E0DF-1910-4F26-9166-0A52D689A9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A5F5AC5-2D47-4D3C-8B4D-ECBC1EFDE2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B1B6283-CE1B-4961-9226-9331C43B19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BBA8D18-F6F6-4A69-B7A8-18ADCF5B8D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1BC9486-639D-4C4A-8DF8-E0291A9D48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C81DF18-14DF-42C4-9C4C-840547B7D3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D101971-9D0A-45C8-9953-EFBA2471B4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796D7E0-B91C-427E-8611-1F09D0EDE7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7460B92-89D7-4614-AE28-E47C6555D2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7296C2E-609D-410D-97E1-88FBDA5A38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E411095-3EDC-4454-807E-2D88A578FF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6A76F14-B458-409C-A1F8-6C13E21489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419F4D8-A2E5-46F0-9DF3-B33846BC37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D3A2C20-01DF-47DA-B125-7B7ADBB394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12E34AE-4D76-4A01-9267-87FE037964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61D3979-0345-4254-8B8A-2C7EF7006A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984FD26-6485-4C71-95B8-6607AC945C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D985DB7-7F35-45E9-8A54-BFF42E14A3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DC039E6-7536-435A-9DEE-9A168DE654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50DB5A0-933A-435B-B351-97C467EE8F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F05A031-A4AB-4D2C-8D5A-433464FA84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16DE1FB-E0B1-4A89-A6B0-35E874FEB8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91D6029-7B36-4244-92AB-9C53DD988F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018CCEF-D3B8-4905-8863-8D272279A2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C629F7A-5D22-41C6-88F0-2880CA3133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58F0EDE-3155-4FC5-8B76-4E5A098EB2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CFB9B5D-FBDE-442E-9ADC-4EAB5DEA41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E6C2D61-DFF9-4BD9-8200-DC79663672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5C7CC40-24A4-49DD-BF2E-16AE417661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C321FA0-72E6-4A93-BE20-2B2EFE7E83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E86FD0F-B9C5-4B32-A0B1-5D45AE8723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3AB4B49-256A-4A99-8B09-C94B7A9BC6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EFDA454-4BAE-4AD0-A70C-029654DC50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0C0804C-4BA5-45FE-8C67-70110BECE1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835AD0E-987C-4ED3-8622-7F0A9822B3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B821BCF-79EA-40CF-9BC1-E11CE2EEF3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D0460F2-F1CC-4089-AB2C-F729ED19DC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2E36E1F-8ADB-481F-A69D-F524639018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B4849AE-052E-4CD6-8A3A-88EA6E014B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2257A69-01E7-429A-A42C-1092AE92A5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E9FAF52-DE2A-48A6-9600-751094B510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CA54360-E9A5-48C5-B4D2-D69127A75D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7774933-6A64-4CEE-ACCF-B069C60EBE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0F4D0F0-6493-4C1B-8009-6FA076B7E1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E680790-EAA3-47D0-82E6-AF6CEA8095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C377B16-9BD3-4F86-95DB-2A56AEBE3E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7EEF654-D656-41CD-9653-CC8E0AD719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FE21607-F21E-4A03-85EA-4F94CAEDC5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2764059-A694-4D1E-91B5-71F1FEC71B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9C8C4DC-A6A0-441B-8A62-F527071356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77CDB29-A441-47B0-9301-FAA1FDDCB8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D6208FB-BAD4-4A0A-BFC2-82932C79FD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A17DE48-E8D1-4D41-A77C-8F66B631CB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2E5FDFA-C467-418C-8A2A-B43747F3DC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C493F16-9F9D-4A97-BAB6-6CFAE99B05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B45B4EF-C924-461A-9BA2-F79516E641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6A053BF-3685-4C0A-9CB1-42E393F10A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B7AA7CD-9243-401B-A6ED-A46E5471D1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DAF1C4F-FE4C-4870-AC9C-56C247AA07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9075F15-7A9D-46A0-864F-1BC3C56B21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91B4838-43A3-4551-ABBD-58AA257366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411D89B-B3C3-4147-BF58-26E6F1C2D5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42409B7-2ECB-4F41-9DF0-220EBA6D19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8193349-FCD3-42F2-BB73-CC23774221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D30437A-98D6-4204-A665-D9EA39010D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46F62E7-3CB8-49DC-9438-ED01813751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4539DD5-9090-47E3-97D1-E60F5B2FF3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85B8F6D-E3E5-47AB-AFBE-4361900268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65BDFF2-FA89-421B-A71A-69EF135BED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AAFCB7E-6C61-42AB-B35B-0BC356341D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48BCD30-488C-4BD1-9225-2DE9D1B80A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09EC512-ACAB-4CBB-AD22-E84C46C3DA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CCCE843-EB77-4FE7-BCBE-17214BF922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CA21BD6-B590-4430-B4E5-833B9D9ABE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319A5DF-7D86-4775-BE31-D981A79C92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3BC64D4-1FCC-4B1D-A39F-8013C4A0E6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1F3622B-DD1D-4EF8-8A42-7524267D31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461033A-34C4-4E0E-A64A-693C849AF7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FBE134D-71EC-4EAD-8BF7-6E88E15916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E12975B-681C-4B64-B60C-17E4BF670D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49CAFB9-DEE6-44B8-B9E2-061208C067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2579208-439C-43CB-94BA-88BE0B3522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C04DCFA-A3D0-4F41-A962-D0255F167E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56CF86F-86F0-46CD-AE3E-428F625C86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8BCABC8-DC00-4B71-A3B6-4D37EBF312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36D83E3-01B9-475D-962C-38BD242D9D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78E1ACE-401B-48BB-BC1D-4EAD2C46C0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FAE362E-89A4-4F1E-B34A-C6F232F59D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BF807A2-C6B6-49D7-9F13-27B109DCE2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2766AC4-EBD4-46C5-AA2B-22A94A76E1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4328585-CE98-4F52-B0FC-1C0BD02BAE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7380651-1BC2-427F-A95B-1FD7E0D60E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68330D9-C4D6-46CA-A239-8598B1E73C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C678862-5BF4-4F57-BB64-3BABDB199C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DE4B2FE-5821-4ED1-BEA7-1642F131F0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7888E31-58C6-4BAE-B582-9D90F17BDA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E5F0C2C-732B-45E8-8B38-5555094F53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C0C76AB-82D1-42CF-BE39-E5D1959432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7F0D76E-CB6F-4763-948D-A012BAA02A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2117641-DCD8-4E62-A072-7B94C30146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DDF6DD9-13B7-4A9E-B42F-5A0AD016C6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178D130-81C9-47F3-AE87-627EA868C5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84ED935-543D-47B7-A543-8A8DB44422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E7969D7-B4E6-4FDF-954A-D2827CF5D2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B23E2D4-D9D3-41B7-ACDA-F64DCF3E32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43E68F0-3A3A-4BC5-B8BC-100C2EEEF3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7D87B04-5C5E-474E-BEB3-BE8947A42A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101B5BF-4885-4B9C-AF2B-CFA94F37BD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575E30B-25C0-4A2C-8512-BEC0E1B1FC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F49F5A7-8DBF-472A-8BB0-15F714EC04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3F8AB37-647B-4A72-899D-027EA8E3A0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1A04D8D-810E-4A71-8680-EFE62B1795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08EC3EF-89AF-465B-9360-2039197760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D4EE406-276A-4863-9892-B057E01521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B9F3C69-03A0-4C6E-BB54-9FA2AA0E48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6610947-503C-4CE4-A6FA-0B5ECD2B3E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00F0151-4AB8-4CD6-887E-11592516A7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5DD1621-415A-4E12-ADFB-F5AB3C0B2E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691925E-D57C-42F3-9E59-D1420BADD8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9C83B13-3ECA-4EAA-8277-C683563047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95C6D92-5346-4BE0-A6CB-7880E57B11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AAE2B63-52CE-468B-A1FD-4B72F5BE99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3A375F1-29A0-4D3D-BA93-4EA5305FDD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AF6BE85-CDF6-4B6C-93E5-157AC3BEDF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A0BA91B-5482-4CCB-942F-C66E3D796F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676BE3F-6669-48F3-B617-B8C6248F3B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015B72E-4225-43E0-81BE-4FAE28B274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33C1405-B09C-40AD-A23C-57FDADEAE2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11ECB3E-F64B-427E-9AC8-582CD75382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AD588B8-AABD-43E8-B6DA-CFD6134F76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B31F07D-CE94-4593-8A6D-FB34F91FBD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F70F114-388E-4E66-98E0-7363FA144C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BA4510A-70B6-4DAA-A8C8-4BC5B65873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75CD046-AA14-4895-8F76-70F032E5DD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BC086A8-03CF-4AB7-89D4-D26689C876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5A2BBDD-6ADB-44A8-A16C-7DA0FBC1BF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98C5D15-315E-409F-BD6E-EAE4F99CA4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FF8EB4D-FEF3-4256-85EA-71140245F6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AE4BE4B-F18D-454D-A5BD-8912B275F3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2F59A02-0E5B-43D4-A6E6-909FB1C689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227F45E-5A48-4D81-B91B-2E40D76EB6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1A46D05-26E8-4222-9BC4-5EAF531D81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F10F0EF-FAFF-4289-8D81-0321D272C7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7A35BC2-E9FA-4CE1-A9B6-3101625548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BAAA3C3-1F8E-49F2-9BED-504588C726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E42B648-9C57-4C17-A612-E60EC41C47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F358B69-BE58-4902-95C2-5D9C07431F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03F8FB2-80C6-4170-A0C9-6B2A471E47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F072CCD-EB73-4E61-B363-8E079EE90A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DE0F138-D05B-474B-81A8-B422237173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ECF0294-412B-4008-8F41-924597E4D1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2B6C4B6-A349-4C3D-8347-B5FC346082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7D64851-FD18-45B6-BF95-0A0028C002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1AFE427-BE48-4DD3-9780-4503B3736F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48BA4A8-B297-4059-9E01-8D80C6A156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BAD263A-60E0-46CE-B0D0-722B8DAD15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C098F71-EC49-472C-BF2D-CD5A8DAA71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17FEC0B-781C-47AA-B5D3-6775894D7C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F97C93E-03B8-4CD0-B284-6EF0605B13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824DBA0-0CAD-49DC-8486-37771786AF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50EAA3A-0A34-4F95-AFC7-80F6E53951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91291F4-0778-4A03-9637-FC0647DAC5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B7D039D-BA22-45E7-8117-28501D610A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492DE80-80D6-4117-A74E-CD22ECF364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F9A27E4-5A44-4701-B813-F816028228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096F2FF-E670-4F9D-BACF-11C1BF9985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BCC3E5D-E4E2-4B65-9F4B-0D09D6B029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4B31700-10F6-4A77-845A-83C737CBC9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48A6C5A-E112-48EE-B019-B93B9AED97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6DFDC7B-0122-4DE3-BD97-0A7A635137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94F1677-1CE8-42C1-887F-44C9DBFE06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6BD9BD7-54D0-4C2F-ABA0-8431A13463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F7530B4-9F5B-41D8-AC35-1C3567A849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0AAF0BE-D56F-4D4D-9B51-B2731AE299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FA896C4-8C14-4273-96D3-B2B930D181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9B3181F-2BCA-4DCF-B49A-4FD1B8F530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7CA73B0-0205-41ED-BB82-03C9C1E84B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371D7A7-93BA-4D2D-A264-24A7D58188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78E5113-9BDB-4C96-BB26-F73FD38CE9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EC0057D-6134-4402-806F-68BD2C3829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7B75F05-DC87-4BDE-B217-0D4ADA87FD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8C5D7A5-6594-4380-B0F6-223C73CCE1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C66FA64-9F60-4E36-B1FE-167C7A2722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8C1751B-2C24-4752-BADD-0555E6D856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2D8F4F6-0ED2-4823-A59E-6F27555385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4A03D45-61B4-4731-A014-4DCA7E820A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6B07FC3-9D05-4CB5-97F3-2D9A42AC4C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1F028FE-52A7-4616-8C67-41D2B6F4C3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66772EF-1A0E-4766-AD21-8CFAA9CB65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653EE9B-BFE1-414E-BDD6-0AC8F066CE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5F0D2FE-044A-4325-B5B6-85C62D4E43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EEC5488-8A0F-40B2-98D0-50721A9839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3FE45C9-C4B6-4DDF-BCF8-2C7DC7001C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1616F6D-23A1-4420-9D61-BF2F76D251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4B7F02E-6DB6-472F-858C-0C134B5FB1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3F30CD7-017E-496A-8D83-249E8E73CF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860358C-5EB9-4CD0-BC56-724814B83C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FFAB2AF-35AE-41DC-A487-EA73121973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05A86B1-94CF-4EE7-92A5-06B2F4EF9D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7C72407-3EFC-486B-8DB0-D53B457117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EAA3760-7304-45D8-AEFB-096D64E1F1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F374F95-DABF-4C4B-9286-7215506BF4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072C99E-DD28-40F4-9F03-B13102CEFF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243417D-D262-458F-8F4A-7D2CD1E812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5C17DFF-6D71-40F0-8D6A-8A4F747EDF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2419DCE-783F-471C-BA41-71DE536EB0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7B2594F-2AEA-4451-BA00-60214DEFF9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EA38050-50D0-41E1-96C5-187DCA9A23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9AC9DF3-C063-4BD3-AEC2-DCB99C4661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F79593C-9D41-4409-B653-CDD119E42D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3DC7F6D-860A-407F-8E9C-5E0C51E503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5BBD586-BEC6-4C3D-9374-678CF08348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7431729-7DDB-4573-A12F-072B48ADBC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29717EF-1791-445D-B866-3DBECC45CC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6F1FF45-A27E-4E2C-A7A9-235CB4D3B6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FC16AFA-0843-4739-BD4B-24E40CDD98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07C590B-826B-4562-8CC2-F500A61919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E36711B-D023-418F-9CDC-0961BD892A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99DED83-E88F-4E1C-8A39-863C501DC4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3A73FFF-2D9B-4D0D-88EC-C052D12D1A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AC22E63-4A45-485B-981B-B847041CB0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085AADE-6947-4159-8E67-BDD8D35049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88ACD0A-C377-45E3-B13E-B6DDF8B88A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E10794F-B324-44D5-9F60-30BDD85038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602CAC1-4736-4802-BACC-A1F8C5EBF6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E430E25-CFCF-4193-9577-0F19248051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3B669D1-C081-498A-872D-B05620E42F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AB181CC-95E0-45B3-9EEE-9C22F5CA97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647055A-07BA-437B-BD1E-9F08953248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D5C81CE-CA7E-45AC-8A55-3DA47117FD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D2A852E-448F-41FD-B8C3-C8AE9F5C6A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2F02A8E-C2C8-4EF9-8240-01BF4B9E75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1AD8179-7BC7-4C99-A5D8-09290220D7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0A95202-05EB-442F-B1B8-3DE5900075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3D41B35-7683-46E2-A860-258777235F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C512E79-418F-42D3-8309-2E9372F31F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4FD3449-249D-4517-BCB8-34435A8B5F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0DEBD94-C728-45A1-A55F-94E91472B2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96CBD58-1080-4E0E-884D-28612BEF8B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C164758-0D44-45A2-A992-2C69F7F0C5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2F0E486-821B-4B78-B324-B686D3BB74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71D9436-3076-4466-A7D2-E99D90D9FD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9CC6899-CC40-4AC6-B804-9296131609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A021B4D-5333-46BF-BFD8-B611B1B9AD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8BF9EC1-69C3-4DD2-AB3A-6078187698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16A0892-3A8F-43BB-82B9-4A8A20EF66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3F2F4AB-210E-4503-B22D-256EA3EC94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2598513-CF1B-4916-9879-78532787C8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EC42D5F-26CC-4FC6-A9F2-DF70B6F5CF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DA384EE-B95D-4F77-B9BE-54B611FF03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EEAC09D-3A70-4FB7-98CB-73555AB753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628EA7F-EEC4-4A66-B563-680559C56A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B00C3B8-850D-4F59-80E9-1BE3352C83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7F0298A-ACE2-4592-B9DF-B14563BEBC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718C72E-8EE6-4F65-9FB0-4BE44E01ED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D24D5D1-4FC0-48C7-A138-C98AB144DB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7C1865B-A7DA-4196-91EA-B2075E5547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8446D64-DF3E-456E-8AE9-5AD8C66AFB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C63F64B-55F0-4C47-89E6-1D0297213A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307E822-8FF0-4B74-B189-9DFC75335C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9A0555A-FBD8-42A2-94A9-C9FBFC3B3D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869B086-79A5-4FE9-AAD6-5CF95A0689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A1FDC95-B51C-4DFE-A812-4998184382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E4C5810-DB4F-468D-815F-70933446C9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6EC5883-030A-40C6-BE22-35805416C9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28CB8AA-97A4-4567-BAFA-4DD138BCDD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69FE96F-1417-4004-814D-178B68A1DA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0742013-2B29-40C8-882D-DFBDC4AFEE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7ED45D1-B0F5-4CBA-9ED6-1F0C5D5B63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F5FD022-9E51-4EE6-AA89-C033070898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F614F80-9051-456B-9C3E-EBC51691C7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A22D618-2EB1-47E4-9DCA-A744E416B8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B5EF6BD-6656-42A3-AF45-645AEE0E04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E0BFECF-4982-41B5-969E-5A226F33F8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0291944-37D1-4B3F-8A21-67F9889B89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753A927-A82C-4F03-B2BD-309D7D3726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D692118-B1C3-4C2D-ADC8-2C4BF78EB3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C9D49F1-E544-4F78-BB31-87909BA750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040BCD4-7063-40F2-822C-36B915BAB7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49D41A4-3933-47CF-8268-02AB0D8E13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726E8FB-536A-4217-8467-D862443FEA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1E8AA00-59C3-413C-A8C2-5CA0F1E006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D217E92-CFF6-4F0E-8628-70CC44E16C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11384D3-511A-450C-B5D0-A7A9039BE7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97C330A-00F6-4011-AC51-FB0C7C9687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215ADC0-F97E-4930-8CE5-310AA17649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28107CC-0025-4291-920A-F9E082A862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F057388-C0A2-4B6D-9632-3EC3F2B82D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786B312-9508-497F-9DBC-107608538A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E13755C-B3E7-4565-9DC7-92E66191A1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D442F25-6274-44F5-BC29-718B1BED63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794FEA5-F3DF-4C09-BF47-35FBA34A3F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23682BC-0B26-4B06-B2F8-F91DC07894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B88A052-F5DB-4F68-8FB7-368CCFD985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6E9CE0B-562A-43ED-B1D7-44D6AF7914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FE5A0B7-9833-4EC6-9C4A-3154F969A2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C94E075-7693-4624-8371-D8D8B69DA6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ACF53DE-371E-4C5B-A407-0135D2DF82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5B4B9B3-98A6-4EAE-BF48-BAEEE59C6B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60B6541-136B-4F92-BE8A-04806F46DD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542275C-C235-42CF-9838-2DF31E6731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73F9012-DE1B-4A23-BD0E-042D6D95F2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040E0EB-3EAA-44E8-A394-32BE2F72BC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551BCA5-0FDC-46C5-B41B-AEB12779C6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1093165-FF2F-49C3-B283-A54523C792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5E78997-2801-47D7-8865-3A60DB0DBA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765C765-972C-43E4-ACB9-65FB8BF17F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F96B24A-D40F-43AC-A8BD-99E135912B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5366887-A0B2-40DC-9AFD-9A2072C131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5699623-BA54-4AE8-84BC-B9E676E006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B85D184-710B-4B3C-8531-5C5CB0196F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C58751B-7F16-48E1-889D-491223AC20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D521DD1-E661-4CA7-843B-50BC59D490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8AB0FD9-4BEC-48BD-B0F3-BEFEB44120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391A62D-EDA6-4024-B045-EDF0751082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AA12F84-6161-4A2F-A301-49715013C8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0E1B8DE-F471-473C-A548-C508A05080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98DF120-5347-4ABC-A55A-FD61F74C21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EF88F14-B916-421F-8FA5-141C9EC2B2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93CE44A-0452-4733-9203-BCE6CAF04F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8BB4439-1706-4BC0-955F-1D203C3D88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3B6F9FA-6A54-45C6-AFB5-16C6ED8273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A2E83B5-F316-4E6C-B754-3A772E96DE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EADC2D7-BF7E-426B-9911-921CCA8D85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8E42434-396C-488A-8842-4E70C69FDD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CE0656A-9018-45B1-A3FB-10C0C8941E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25003ED-91BF-4B9C-80F3-7509126D24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AEAB6F8-1BA3-4D30-9A9C-09CDE3CC5C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B4B76ED-79B2-4641-90DF-ED0FECCBCC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18B57D3-EADA-4013-BF07-A7E0B0AFC1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99DA3CD-4E25-418F-9138-199B641A27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377A231-5D9B-48D6-8342-46ED6345C5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D5378A0-303A-4BC6-BA02-EDF3FF3959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66FEC23-00D7-4496-933D-A9EAEAACF7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4E9B098-04DF-401A-8B23-D41B2797FC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A6A91BA-A8B3-44A3-A35D-78DBF32B1A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A87A256-278D-4D43-A90B-B3C52AE9B8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5F7FB83-287D-42DB-A7CE-F70BF7D001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0DC33C8-C447-4CBE-A44E-3C5C826A84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CD8DB75-1A16-4DF4-B98D-CF592CBC92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E9C7273-5C08-4514-B15A-C857A92B2F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BF77DA5-3853-4897-8D8E-6C1DB7D248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205C9ED-97B4-4531-9E6A-2CFAAB60CF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506FE41-F8DB-4B67-86EA-4A69CBFFBF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67E7B00-76F7-47F5-A585-B20F444FC9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071519D-0693-40B7-9C09-7452D89333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7B55FE5-8530-48C1-8EC1-9DF2C16851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B0676CE-6897-496A-9F79-D1630136CE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34B2DE6-9FAF-4DD9-9F82-F141AB2781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BF54C35-D5D5-4246-ACB1-D98D68BD07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AEDCB10-3EC1-4C98-8EA7-1A206C3677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FDEFE58-DA4F-4FDB-8900-A4BB62C088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9F26E8F-EBC6-4950-BB8B-A77629C704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46B84FC-D2A6-4616-974F-7242BD8347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904E7E3-8E7F-45E7-9A75-419B842F8F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80831EE-37F6-4694-B423-67C80433FA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F36B12C-CC42-4EC9-9ADC-7A65E9E527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68C49D4-C9B9-4FA1-8025-A4A9142489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229FBE3-F296-4A93-AE18-615F68C314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FEDDB66-07AF-4F5C-8319-183FF696E3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0991047-5EF4-499E-8E9F-D03CE4FAC3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D44DA22-7C94-4A98-A671-917D8D0D73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2D8CF0A-BBD0-4104-BCD4-F41D3BA8ED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791AAF1-80A7-453E-8236-E9B49D2DDB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63806B8-0351-4959-AAB7-BEEC67053E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0E864C3-1441-4633-B40E-764ACF7E4F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5A9701A-C311-449F-9A82-17225D7C2B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85B27C1-4539-44A7-9EEF-9DB9B5012D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9AB40E5-CA41-4539-8B3D-33F61044B8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CD06826-383B-4946-A15A-4FD286487C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570079A-280D-45FD-9C11-98067228EA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73B1B44-D9D9-4477-83D7-C4D7AA2456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AC0A70B-3697-4C7E-85C1-61EB031C3B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A801646-6910-4D3B-BA47-F3DFEDAAC3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C63E29A-B8FB-42B6-853E-AB861E9DB2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EC9C030-4551-43D3-9256-4A611B5812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F8148A9-4E86-4FE5-99D7-9C86BB3AF8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6CE578B-1526-4ACA-B849-34FC4012F2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4AC9B37-B50A-4EB5-A95A-339630D32F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A00CB7D-13D7-4E22-B485-F8B27B2687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093069B-5A12-4157-9121-D2D9D80478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49B6C6F-94E7-4B17-B4A7-A6E9935073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52702BB-193C-41CC-9834-BF714B121B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33DCE90-8F31-42E5-B156-863422E070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DB66C82-747D-4124-8918-7AF9813EE4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BFE7DA4-4394-48F5-BAB3-A6AA1A604D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DB54D89-DD77-46DC-83C6-97D76FF81D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45F38C7-3E68-4263-81ED-6A3D6E4409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70B0971-1B9C-4474-B330-3BEC797F62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651E0C2-B407-4730-AF53-5D1F8CF58D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4BF6EE3-0EC3-4796-9D7B-4997F72942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A0B59FF-B2B2-486B-BF6E-F284DB7897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7443D9E-BE94-44DF-8C02-22A43E835D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B2C2CA7-909B-4C68-91A0-D82E3B7184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BD68D7A-E37C-4B81-93A6-81D950A24C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B15A8DD-06AA-4B0A-B475-5138681B7E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FD8EFCD-A0BF-4EDE-BABD-A415EFBE90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4C021B2-9079-4817-A8A4-9072161885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1FEE4B0-5182-4F77-A4A1-BD796E302B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E0F3624-DA41-4B8D-A716-19DD91BA68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CF89F42-FCAF-4DE8-A936-6AE09B6118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F8B487F-6C18-45A6-BBF9-9B097A153B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B4B4EA5-34C1-4C3D-A3C0-0FF0265B84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1BB134E-969A-4860-91BA-7A8A86D01B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87F0802-5128-45B0-8CAD-075ECC58B8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937C6D1-C401-47B4-ABD1-2AD0E7637A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7AAC715-FF89-4220-AE4E-A71EB89609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81BA5F1-B49F-4099-A767-9C83BFA2B5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BC55667-D748-45FB-89D0-9EF8A80D43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CC0F8DE-FD45-475E-9976-6CF19C01B0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D6DAD14-0712-4F04-BE82-FECA5B8C4A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88C6E69-CFFF-422F-8C7A-859DDE56E9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1DE5C43-4889-4E8F-AB35-03E3DC9278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CE5ABB5-6F36-45E0-BB1F-BD8F27A4B8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6467378-9E2C-498C-8928-E6B1C94BF8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9C05591-7076-43BC-9A8E-6CDB911B10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46DD583-B1E7-4C7B-A56B-EA08651459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FB7E69A-288D-445E-BD58-9E0FEABAD9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655141E-FE06-4181-A42F-C9466A86B9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B8CE282-1990-414E-BCBE-9A36413AFD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A35AC03-4A1C-4819-B463-437A60DFDB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F7E79F0-A489-4553-A080-982341170F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7938653-3785-4317-AFD7-B19AA1EEB6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89BCE13-9D06-44B3-A974-EA58DFBF66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D8D4F4D-415E-4A48-805F-3DEE549533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4BA2279-28E0-4377-A579-250EBCFD3A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B2B7F9A-AAE7-4177-BD9A-E552794824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4B900A2-C536-49BC-82C3-25EE2EDE86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C5619F0-98A7-4763-BA0B-4799DAD3EB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0802527-224D-4AAD-84AB-DDA08ACEF7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60DA85A-EFA0-403B-A335-FD4744152A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65B56BC-0369-44FC-B791-131C8CD854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70EEFDE-A2E7-4C65-A7D4-CCF8A03EBE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610073C-52ED-4D6E-8B0F-DC00EB8F91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4B6DCE8-A801-49B4-82F2-E6565656CC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4C86550-D8A3-4D77-9BBB-687B8D652E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9B89909-1F10-44B8-9190-346BBF1C88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F8BE721-D25F-4B92-AE08-9C322067F0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AE3CB6D-EA83-4472-9B47-98AC65A091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F5C8DC7-43BE-4374-B446-8BCCAFF341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9C602CB-09FE-4B2E-AAE2-2A0EF476E8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2400B74-04D8-43E1-B7F6-69EAEDCE2F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2ADE992-88E4-4EC7-98DD-71D29DA697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C639E19-5D0A-415C-AA8E-45A24428A0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ECD3952-F264-4903-824F-3CB07353E8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FE1DF72-25A9-4651-B8D4-373B7CC66B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A824A1B-87D2-4323-B1AF-876131DD22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670B640-8F0F-4CA2-9D68-4D4CB2AD09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87CE249-F80B-4C7F-AD58-4CD6B21BE4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5DA6432-2D74-49C2-9437-2A045B30E2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4E6BDA0-CC70-42D1-91E4-9F90005F16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D987935-E27B-46A5-93BD-58EE289331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B8D1271-14CE-4D7C-8F9E-01ED8F1484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498BAB5-FF07-44B7-85DA-14FFC70373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8C23CE9-B523-420A-9709-E4FEB5C5D3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44D81BD-4900-4094-8149-FA94E2BF2B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0D0BD47-7133-48F9-81C5-3A173970F1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F127224-FC4A-404C-A953-84D2F21167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CDB1F9B-B853-45EF-A739-69E9BDE59D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ABCA836-F56C-421C-855B-E62A5818FE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1BDA935-71F2-4F42-A1D2-77FC0C2982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C49DC8D-A7BF-4DF0-9790-E56134366F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F7DD73B-70B9-4DAA-AC92-D2A322E8F4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959EA1A-D636-4A18-85D6-0D2C9CB437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396B441-E78B-4FBB-B8AE-B173E98EE2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35E8A18-9664-4C3E-8C33-DB9D78EB8E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F2CC75F-64B9-454C-9CBB-E0E0664D55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962E7E7-F26F-4529-86E4-BA7864EE8F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FFF1F93-A7FE-427F-8E9F-5D808EDC40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0DA5B89-67C7-4B34-B297-A90249B385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875B571-1E56-45DA-B994-D7FD46A1A6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0F8CEBE-4978-4B08-A447-54BC6108F4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58664DF-4255-46E4-AEB1-16FE0F4516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E3F0E1E-4317-45AB-B750-0B906CB2CF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491228B-C87C-4E90-BDC5-B2C4F030D1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AF05AE6-3FDB-48BE-83ED-3996962D8B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66C717C-AD2D-4BAA-88A7-04F4B1DC0A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55CD28B-1369-45F9-900A-5C3C393291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1174D3C-C3CA-4625-905E-0F7E26013E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7F88B1C-FE02-416D-B368-BF74C2F51E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ABB01DE-39B9-4C3B-859E-462D0387DA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FA0EE0C-A07B-4C00-A340-BA38C6D777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0276F50-F41C-476E-924B-FC79C9A702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C050AFD-AB1E-4240-BFEA-6982FFD1BF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F76E90E-5704-4020-927F-EC7BA59A3A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A3E01B9-474F-4035-B256-25CC0B15E0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4B4D67C-B410-42B7-A0C9-36020660EC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46860B9-70F1-4B40-8D07-A6C8CBA11D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5A78424-CFDE-45FB-8DCE-7BF322C4BC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F02EDCC-C2AC-4CDC-B1CD-682B3BBB34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3634753-C431-463D-8BBA-2220DE6DEC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90729AD-9DC2-42D9-9617-4D468E4D6A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124AFB2-2982-497F-ABA2-C6EA2C9389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7A1EB08-0036-4DCC-A491-01522ABA6A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F687EBA-2E94-471C-8158-9351F3F299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FCF8B8C-5A6D-4A68-B2F9-71260EEBD6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F68DE5B-9D5C-4552-9448-2286977E37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0BE661C-4DF5-4C44-9C0E-39FAC93363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888EDAD-9AAF-43DD-90F2-08A537DD6F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0E3F368-5540-42A7-A341-57932A6F1A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B95E748-BE68-45B8-8026-10099C4B78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D98D07E-5EB8-478C-8260-88952B4356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F5B38CC-D35C-471F-8A3D-224240B55F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4333469-2A41-46C5-8047-71D24C0A1F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39CEFDA-B85D-4E8B-994B-5242DC7B41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C1F469F-EABB-4F55-84DA-97E665A19F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3F38A8E-B55C-4741-AB15-0529649C1F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EF3D9A5-5691-4149-B2BE-064732F39E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B26EF86-BEBD-40C6-90BE-7AE9639B16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D528263-A1EF-4BE1-B51C-C41018E4A9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3782604-9888-4724-8575-D810E8BB61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98B4211-0A33-4521-9502-DBF455DFAF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9634C83-5CBD-4039-9B61-03A331C9B6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13349F4-CF8C-45C7-A77A-4C0A036204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2CD007B-09A0-4628-B89E-F3F364EDE2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4F1D89F-0210-40D8-9837-B24842B194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E273C09-11D7-48A9-8D12-D5C64F8819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94F7D45-E3ED-48F3-BAC8-A4B1C6499D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3FB8949-50FF-435A-8C6A-58C1B76E27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D2E01DE-65F8-44C8-B171-5B24591FF1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C3DAE7C-72D3-4542-BAD0-9008E8D2B2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ABD4D84-1C45-41D7-A305-11772F81C2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3E86D47-DE2F-43E5-A965-4B658639CF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C937992-FF7A-4AD4-A980-ACE9DA6DCB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1A978A1-7112-4219-8B5E-7F255A3C3C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0079FBB-38EF-4A68-BD58-C3323A32F3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ED019A2-87AF-46A4-AD07-236299DABC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5C92C3F-1141-4E66-A4A7-BA78F4D2DB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7A5768A-4EAE-4862-BD76-16203EBFF1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F06C3C8-BF74-425C-95D8-A06845B849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D510AC6-1FE3-40B2-8CBB-EF1445B754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C473642-E771-47C6-A9D4-EB140CA9E5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2C1F937-C99F-47EB-A611-ACA8446A38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0EC078A-3876-4BF4-813B-6528EBA5C4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DE2D91D-D107-4872-949C-0ABE128D85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1C3F6A8-0A64-4EAD-9FCC-7F6A1EDCD8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4D6AD86-AB59-4227-8679-5CD0677AB5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D1DD175-E46A-440D-A82E-7CA3769F37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1D277EE-6348-42F5-B67E-4F4961B073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C545527-AAF6-4AF3-B357-CC380BC868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0F2ED22-B9D9-437B-A6FE-4A6D98EEA0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17FEE98-E22A-48E8-829E-455ACCFBFA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7B374D8-ED81-4CF8-8D83-E5E112338B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8F09A54-7498-4B64-9B2E-2CCEFD0390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EF873E5-A3B9-469F-8BA4-9D9E8D3646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9E4970D-5C90-4936-A5E1-E3D9EE1052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A5AA742-134D-47E8-845E-1F79AEB19B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CDE728B-9E5F-4C2F-9A36-0644BC575D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2D1D568-E1B6-4C0E-9E3E-9A67FD6264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B230FE3-8347-4148-882F-9E0658DF4A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3C65FEA-FF2E-4771-A8F0-5497613996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C53BE39-B8DA-4349-B873-D4F9500517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4D83FAB-17A7-48B1-A7AB-EE6CD969A1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803D9E9-34FA-4EAD-9132-C99D9F5E13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FF41F87-5D31-4F36-8298-956E5C5A10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04B9DF0-9F34-4EEB-BE53-617CDF90A7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E172149-46CB-40F3-9EB1-976CD1CCE0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D200EAF-CCE9-4242-8CDF-BB1A5C6DAD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EBA71EF-B1AD-4AE6-9D7B-67B680FA04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44079E4-9E98-4736-B92B-A92758E42B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72303F5-9C46-4DCF-924E-01A241CE58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E482865-C3ED-4A98-8AF2-B6B74CA411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83E8BD1-D93A-4763-8810-6616FF70FA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BC7A0EA-33F4-4C84-B5E1-623C0489A3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A369DF0-3CB8-406B-A72F-EA14EF1A99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9848576-1C0F-493E-9610-092D7560D2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EBE74F3-6878-4AE2-B3D0-98EF019CB8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B2C9B25-E003-4D6B-9EA6-C0208931C8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44927A6-1CF0-452B-BEE9-FEE40A817F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E404125-85F3-426E-B895-65716B9864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3A518D5-5D5F-48F7-9622-AE16476D9D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0AA08EA-8CAC-437F-905A-B082F1C14E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DB1F3F1-55B8-447A-A6AD-FBFE6178D7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C250328-2BCD-410C-953B-8BB8AF0E84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3363C39-D9CD-480E-B01A-3390FF20AC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BA2A71B-35AD-4A30-B18C-45279D7361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61C1B41-D277-4E0B-8110-47D9D54617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7F33D09-EDE0-43CF-834F-95487D208D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DF93530-F726-4CC7-8922-5D79E46919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AAAC7CE-A565-4EF7-A9A8-820DF667F3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4E92A33-4725-41CA-AF13-26F913F98F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CD445D8-5A73-4FBD-8678-958EB9C575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175E701-8344-436F-BB2E-0A066F76BD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EB62723-F7C8-4395-86F2-0909DA7C4C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CD434ED-5BE4-46C2-9155-974201F843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88E826A-B066-408B-BC40-1F0ED71B80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99D0C5B-5E05-4C07-B135-24708B1109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6827782-D265-4F4A-89CA-3F7A4A4BEB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DD1D976-11B2-4AF3-958B-F26D4BFA0F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B2C4AD8-CC6A-4546-9727-6A5DD63BBA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F90CC54-CDEB-4BE7-8642-E1686A4D26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7F0E01F-2CE9-44E7-BA45-AFA1913CE1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3708098-2ED1-41A1-884A-7D2F6B5BB5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55B2F26-CEE1-4030-99BA-29B94EC5F3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B241AB5-681C-41B8-930F-43BD3CB87D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E6BD145-A3BA-4685-A912-236F4392C0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A243192-CC3B-49B9-A072-F2EAC40AE4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59092C7-1A25-42E1-8415-087764FEC4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FBF842A-ABD5-48A7-B697-E195AF6F78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0D4BFD5-9D5D-463F-887C-66F2D16983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4CFC0FD-CD95-46D3-B68F-E0C5825FE8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31E1961-EC48-4A9F-92C7-F8F7C4E674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FE3A155-90FD-4B94-B64C-BAEC76736D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8BAF967-ABF8-4BEF-90BA-D3A2DC33B1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4ED4965-68C9-4159-8BBA-1796D37153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6B75F3C-7596-4BD6-9891-E6D5EF3677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31A5748-7D4D-4AE9-ABF3-BF163242F5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CA4A5E1-6F34-4913-AF14-752A764918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DE73AF3-8CB1-44A9-A90E-FA127DBC39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55D6E38-4C83-4049-9803-FD72721019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A7F08F2-4E73-4892-ADB2-893459320E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83462D3-56D3-49BD-A7C0-7ED7C6DBB4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E31FC4C-40BA-4E72-B2DD-2AADBCB183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3590013-6731-4CCB-8E2B-E8138DA68B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BD5796E-531E-4ACE-A0BC-838B274CDB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E0B6A75-8FA4-405E-A167-C0339787BC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9B51B47-EF8B-4A0F-BAA3-FDC0EF88B0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23B0ABF-FC9B-489B-B30D-3D7F5DF46C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6794B34-04CF-4260-A29C-8157C5C63B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090E069-265A-4140-AE0B-D05398531C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EF321C1-89A3-4AFB-A12C-7F1B64D26D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24536D5-824E-4925-BD82-2B15623616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E51D3CE-4F51-4F2B-990F-D332D0B16E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9DC65C7-960C-400B-A0ED-26D4DAD3C3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84F027A-C89E-411E-8B1C-0B24617E93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AE1B18A-402F-4CA6-B725-233B5FC219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F147F8D-119A-4BAD-85C0-D80F17F062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3C87613-98BF-4EE9-9C7B-B762C751B7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467FF9D-DF31-443A-BAC7-3DA305A74D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B6E4A16-3352-42EC-A715-4203343D17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7313222-8C38-4071-880A-32B54B4123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5B7969D-56FA-495D-9C01-2F4922E914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8068CA1-1A3C-47F0-B8EC-AD18DBE388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AD77B82-9060-4295-B44C-27BF517AE6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5FB8890-D84C-4218-A4F7-77B97C9B2F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A46CCD1-411F-4946-9D20-2C465F29DF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ACC4304-EC8C-432C-B215-4BE83D4DD1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F8B721C-4613-4C0E-B28A-6B6D5798A6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DBE94B1-EE9B-4DD9-8E49-EAE98F497B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E91D745-841D-4EBF-B6E7-32BFE304CA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EB08C62-1E7C-4466-9C5C-5502805032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2EEE71C-4520-4E3F-89F6-247C3A5D93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E19E61F-C017-4994-9D8E-567AE6CEDA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A6E37D5-AFF2-4626-9CCE-D2EA7B8C3E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36F4FA7-BA82-4378-B443-8380D8A31C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807444D-D178-4808-948D-FEAAAF00C2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C2CB384-79CB-4E3F-9D60-5FF2D867F5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9041AE5-23C5-416D-A025-8B779661B2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1E064D3-41A5-41A3-91E3-F37F6770BC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7916EAD-2D10-4549-8E23-E91A4FEBB5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93EAC9F-1D52-49D3-893D-EA929D06A6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8B783D7-C6AD-47C6-8AE2-5D0113EA23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56FCF63-05B7-40B6-A93B-9A32E2D6B0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3C33B41-3260-4546-89BB-7D3D9F9E80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5D8A126-86A1-4DE0-B854-4C7F84C04B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31A3AE6-D784-495B-8A10-748D44F0FE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8A7035F-5BB9-44E5-8F8E-CB899E95DF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788369D-8DAC-43FC-AA14-9F3D4C29D2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7565E2B-1440-4F32-AD27-852D8484F8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A3A2578-507D-44AC-A146-5DBC1533CA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F13422E-42F1-429B-9FEE-2390BFE587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6B1181F-8646-43B4-9124-93F617B524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1B3B18B-832A-4067-BA2C-80B6719B0B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33BFF95-2D0B-4AF1-B7CD-30103D2736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59D9196-1073-4B60-BB0B-84015BEEFE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7917A45-ED88-4519-AF3F-058320631C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5602329-7F90-46B1-9894-CFB85BA76E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DEDF200-74BE-4348-9AE2-5BD313CB8F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0461A07-D8CD-4B81-AB99-7C884958D0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732572F-6696-4C09-8852-544F002BA2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BF653D8-17CD-49DB-9615-91A170EDEB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E9EA696-7149-4AA0-9930-739C0C8FA5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54753E0-DA2E-4655-8E9F-EB63A678E8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BA2E351-7653-4F91-B043-93361989BE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31F87BC-E29F-47EA-B0E4-E3E464D1D9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94F04E7-FC82-445D-A3B8-49AE7410BC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ABDDE86-F0C1-4FCA-B243-3918556BF8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3A8CFCF-C077-47D7-A7E6-F2797ED0F5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D10A61E-68A4-4FD1-BDDE-A46EBFBBB4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9B5EE9A-12BC-4D9B-820E-DB59CA8B13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AD6A32F-F0C5-427E-9879-E5CCFF1CB5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F240BDC-A56E-48F1-BC8B-D450557C44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22D89BA-1809-49BA-ADF2-8D8AC037A4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E9C140F-5CB9-4557-936B-F6C3FCA9D6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B067312-8BB0-4689-BB25-A0CA4022A8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1FD7556-29DB-4120-A591-B15CEFEDE7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1592697-25A0-4C62-84D8-EC84A4AB35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64E01FC-AEBE-4922-8609-1AF99FF471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31A00B3-5F79-4029-980C-DC5FC1F045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BA9EED7-2DE0-4E2B-83C8-CF9AB11B89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BD28AC3-D9B0-4E5E-A823-5B090DB2CD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46C2123-0B3C-422F-B753-6C9D60A55C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75AB8D9-7CDA-492E-AF0E-C8196237FA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6CBEB35-0583-4A4B-AA83-55A9872741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5D20CED-092A-4DC1-B798-161A97B75C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923F43A-2D45-4990-AED3-A173E1240C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F807F8D-526F-40B3-9213-9E06CB5D4E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CF92DF7-53DF-4EA2-B32A-C77A9177A7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43E6EBA-AFF9-4EEA-BBFE-27160C2878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9E76404-5498-433B-81AC-61385E8E31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4070795-DD97-4E2A-BBDE-5522998501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4B17954-EA12-44CB-8304-CB7ED57487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08EB720-8634-4FFA-B5F2-A6ECD0F100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609944E-2889-446B-B068-12624DE8BE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B83E454-FDB9-490A-BC88-D301A6A48F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E9FF0B5-4025-436C-B8A6-B05C1C16A3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A2F5BC0-A497-4ED2-9AB5-3A957BC9E4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ABCACF0-B6ED-4F9C-BBB3-8DE7D582F3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ACE90E9-64A9-473F-83D0-7B62D2109E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1E3265C-76AE-4A93-908E-D858CCBD3C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A767438-5015-449B-AA43-FFCEDB19B4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517C880-2337-4C1E-BEE2-F3BC6DF553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A0CF2BA-06D9-4BD8-9404-1F85230B92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C7A4566-EEA6-433A-9DE9-99894E02EC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A7EEFA5-DF85-4FD1-B9FB-67DB595EBE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EC074DA-BCB0-4179-9EEB-9A36A6BAF1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B884CCE-CF1F-42CA-B466-F51C25533B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CCF95D4-1519-45FC-913E-74B91F6B35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EA780D5-DD33-4096-A716-D4481729C8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BCB90BD-97DE-4EEE-B114-05028F8B48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FC488FB-136D-4071-BE0C-10D65CF96D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3E182FA-1CCD-45CD-A01D-6BD69B9E9F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3A4B17E-23D6-4E47-AF2B-F8F2000514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4CCE7C8-ACFA-429F-A1AA-32EF8C0270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02A7852-E4CF-419D-B12B-FAD24B8E94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B343E5D-A28A-4F0E-8F57-2448DA57CF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5B221BC-32B5-4D7C-B355-BEBB4918D2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48BC35B-DEBA-4F5E-8B5F-70FF850D86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3232890-E22D-45C3-BAFB-6A9AF48C52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57B0C1F-1E9C-47F9-8BB2-5BDCF3B0DC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7CCFF3B-855F-4602-91F7-4373F3C66C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F4BBA3E-D831-4E31-9985-590B53FFFB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7BED67D-D847-4A81-95E6-E7F88FA78D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EC767C9-97BB-4C14-B555-FD71650A1A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0194585-6B3A-46EB-A57F-AC94515780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36E25FA-DF14-4630-81EA-08FFEAB7F1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9A742F3-A94F-4D8B-B1AC-7B87047FAF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54F4758-AEFE-40AB-A908-4D3E986447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EC46365-F6AF-49C5-8C3D-0A4B126542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EADA5D9-5706-4A76-AF24-CDA1AC08DE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2532641-7325-4FA6-9BFA-C19C1D123D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8F2883E-C0D0-4D0B-8422-D8991BAF58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340F91F-394A-4627-BB70-D2138EA381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E715E6E-7A53-47D8-9779-494EA21DE7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51DA72A-7AA1-4ABB-9E94-3D7DC8E7B1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C12C843-03D7-423C-9659-E7819C9888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0EE0683-7362-401B-8AD0-E288980C12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2589E3D-E5AD-4F25-85D5-4A52138AFC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01A6985-BFD7-4B52-A27A-BD357E9A80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86A1909-187D-484D-9F6A-7E47A439C7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50A8AC5-E7E4-4196-B5DE-EE0364F927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EBF8119-977F-4F10-95B3-CA32138F0D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62F9D16-416E-471F-86ED-3CF5D329DB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A5B2865-7299-4D38-8B1B-986AF26126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92378DB-186F-4F12-B0C3-42C717D60A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F0B112E-275F-4C1C-B905-4CDB5684E3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D8E69B5-3AC8-4CE7-B187-E8929FDE33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6E7CF64-E7DF-4F9D-9D78-11E46BA1F1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6C65186-A781-4514-BEB1-E6DD040208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50D356B-AB91-4D6F-B192-A18915E58F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BFD488C-99AA-486B-A73A-F601126DBF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FFE2A44-4AE6-45DD-BE92-5765499EB3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3C74823-A974-48D2-9F47-6004AFDA2F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5E15DBE-979E-4136-AE67-ED80D8340B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5D52A34-0A39-4FE1-9F1D-E2BCECF127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A6C37A4-20B7-490A-A50A-6376C06F2E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93170C6-C0DA-4388-8A36-36FC072F7B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F7981BC-F8AC-44E3-8FAA-F4C01DA2A5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A6E9286-2697-41C5-A1E5-F34F9A7F86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216F589-68FA-4CF8-A738-ADE94E0F3A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8931F3A-74BB-460E-97F4-01189D6819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227EB6A-2383-4B76-AD68-75612277A7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38799C7-D077-4C4F-9DD6-B97A1C147E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A4286CA-1DCF-4417-AFF5-E70253D8AB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5BF493E-806D-45EA-B796-D96D6048F7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9425651-F29D-425A-9FDB-FB3CABB96D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2984BF3-B0E5-4C49-A9FA-F02631F4BF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99DD8A7-239B-45FE-8801-2421DAF5F9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7F90D4C-C5CD-4AD9-B257-322E00FACD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DDFB9A1-5E1D-4A70-ACD0-2414457CCF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1E53E14-0FC3-4B50-BFF4-53A7C4510F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3B18546-D8B5-45EE-A3A2-54CE90F05C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D0EC7C4-5581-4B22-A207-C75EADA745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C0B2770-BDDC-49FD-808C-2BC697728E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B458B2A-AB5B-4E11-8794-5AED3EA6C6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219620C-3393-4F20-848B-869AA1F4ED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854FE7C-F847-406B-A4AA-FEF1655A48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F232890-FB1E-459A-A0F1-177972308A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3FFC5C3-74BC-49A6-82F6-C5FE65990D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77B4633-015E-4EF6-B4E9-272679EC17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875840F-A4C8-4D1A-85BA-E9D7603CCC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8CAD786-88E0-499C-BF5A-C925DD3138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6474D42-AF2B-41B5-89D3-9F5595713E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84AC17F-8231-4C7F-AFBB-9F5944F66C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57B6665-1A87-4C49-9CAD-FAA97EC642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C9BDD52-409F-4177-96F5-DAD98278E4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34C79C2-BFCE-43A7-BED2-1320071F58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7FA22D9-3D70-463B-8E15-7B1B02BA68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3CDBC17-17EA-45B2-B305-5513015558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329272E-40F3-4C11-80C7-A3B58B1735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7F29B6E-80E2-4375-B5C5-F1B198437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6297141-455A-4BF7-A8A7-A1E3DAD42C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0FE344A-51B6-4834-B9CF-66B2AE5E9C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5CBA639-2EE9-4C2D-A73B-E6155F715F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4473FF9-BC1C-4C4A-A38D-C1DD0BC81E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EA36B77-A841-4C52-A509-A9C4566BCD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6A3168A-D2F1-4EF3-9891-ADB8BA1CAF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980FF1D-8ABB-4B3E-AAED-96EC8CBBA3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EDE2F5E-9E6F-47DF-804E-B8F62C46EC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15225D6-1074-49EF-A39A-6DB9107C5A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DB8B1A8-7A72-4C3E-9389-B094DD2645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58B4DDE-8769-492B-821C-70984F0760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8F7150D-08FF-430E-8979-ECC94A1A8A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EA38355-F9FB-4D5C-B222-29D186455D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58C04E4-F74D-4749-8FAA-2251B6FD59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EAD542D-3999-46F9-AE64-6ABD111915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3B95285-28C2-403E-A6CC-9684CE6D0C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EAF4D78-FC9D-4918-8B34-EDCD7CAFD6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FCA8A5A-7957-4B5C-B0DD-E84927791D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31FE12D-4369-4DBD-A330-DE04920EDC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CE78FB1-9D36-4FC3-B201-36817AC1D7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F71B024-FE08-46C5-B058-CA30743422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69A2B36-F1AD-433D-9434-BA583E5E0C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4F87A4B-634F-49D5-9B1D-47EFB481D9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1D17495-0093-4930-BBE3-652586FEC3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73B2F30-7269-4754-94CB-086C0A0DD9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5C70D5A-0113-4921-A910-2D83D5D2A0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B4BA0A4-B250-4D52-8C77-C07142545C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7B915F8-FF77-4829-BA41-5E879C6A15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16DA6B4-4D1B-4381-A086-9B584D7283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7DD7361-0781-4FDF-9587-E5348B71A3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076AE0C-EE4B-48A1-882E-9ABB65866D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7DB871E-751A-4E69-92A0-85D72A05AA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15B7109-BFAB-4C2A-ADE2-84AE8170F9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7D9752F-2E40-44DF-905F-04E7F43B89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E1A75A4-CD50-4425-87F0-D0B09FDFFC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54FDCD6-F649-41C0-B3E3-C68C052352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3C5F845-CA98-4FCB-A339-EFABEE4E9C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27E3C9E-12FA-460A-89D3-4D25E5B9D0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A58DB3E-B771-4464-AFD5-545502D714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5CF6A80-4012-4D73-B55C-C9D32ABFC1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B981B9E-CCB4-4D50-BB48-FBDFC20ACC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197577A-F8B2-487B-9781-98D0B46435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8487162-CD8C-4B31-BE63-B9C1E8AB66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B426CCF-BAE9-4020-8BE8-28E12F772A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06588E9-9B4A-4E13-AB31-D65829C597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28D15B3-7DC6-42A7-A1C2-057469A952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313D526-FF5D-414B-8021-0EEA9FCDF1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899A94C-4139-4A4F-8FC5-28153C339C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75047AC-EB76-49BF-80FB-FA1606A956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070F78D-FB12-460E-8E39-6BB45E8C36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71468BF-2817-4183-AA33-AE19630982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226C677-B12D-46A9-ACBD-8B28588643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6950737-60DF-40D5-A9A5-FFF7656D44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493D743-2F7E-46BF-9A8F-33BF7AFD49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EED36E1-C00D-44D7-B0AE-7396F7EE9D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40B3738-CE02-4DA2-ADEC-301CFB4D7C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A27B043-16FC-4216-BB98-BE0EBDE0AF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EECF87E-EB9D-4135-B050-35EC3F796F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395D33E-1BDF-4EC7-A194-F15EDA8474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B5A5781-6010-4AA1-BA23-C2097771FB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77024AF-D535-4CA5-982C-BA7A3FE540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A019178-339F-4C9F-AE69-740D972F12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397BEB8-D27B-454A-ABB4-B101F15B23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945A46B-D74A-4100-97D8-F769C9A513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8377108-9DC8-4863-90C4-424D773B34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BD7A4CB-8D46-4ABA-9147-0B5850E3A8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D5FA4F2-CB64-44D4-AE9C-CD9089466B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9D9594A-4A36-4676-8F86-7E9496499B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068B7F5-D445-43B4-A77D-6D8A80394B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3222BF1-CAAE-4E42-A730-389E7D309B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B15B7A5-FFAF-48B7-AF7F-14862B03D4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D40C194-986F-4390-94AA-AAE3F8E101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682CA5B-4CF0-4FB0-A1DD-D6E995E53D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2FEE9D8-F11D-4979-8BBA-F268ADA070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2D0D8F2-3F6A-4210-9EAA-03D4E56785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9F873BA-1ED3-4BFF-B451-E7FA1EC159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2DE7C2E-3E50-44D5-BAB0-F8E50ABBEB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6C1D428-843D-46F6-BE14-77C2325538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AC843D4-3267-4A1E-8B7E-A99CABF2E4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C09FEA0-9BF0-445F-B480-6E10779D2C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E21C15C-9327-4DDD-824C-CDE32F5CFC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1DDBD91-180C-4B53-ADAD-F96FDDC2F0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6AA156C-E6C8-42BD-9605-5473F2B29F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8DA0186-6BF7-45F6-9268-79C4BBCCFB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CE88570-C33E-40CC-9F00-07E4127787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B61C8BF-DA43-4C47-A085-44DA89EB4A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20E8519-FFBE-4110-8979-C3C159058D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82890BD-8BE9-4764-86F7-3F11C00D5B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2D0A230-56B7-48F7-9280-B11EE2069E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5563F98-3A74-40C8-9EA5-6840614F76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FA63560-43F5-4C58-875F-598D1CDA79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FA8CACF-5379-423A-A00C-24FE1B25F9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FC799E1-2CB3-4DD5-B2FC-DD241620A9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78248D9-EE44-45E6-8576-AFCE18555C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F0757BB-F395-4757-98BF-7589A7B67A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3A622FE-598E-4C4E-9120-B8133248C3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84E9903-991E-4633-90F0-E043BA0D64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8CE2DA9-D873-47F1-908B-2B35CEAD28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00BF81B-48CC-4EE8-B420-2EBB2DBC2E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76350AB-1B4B-4916-B5F9-31AB84A72B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31275EE-024C-4338-91D9-106D4B9BCC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0ADD815-B294-488A-8762-ABBE5EC07A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5C33752-77DE-4FBB-8443-8B6C19F95A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55EDE4B-934E-4966-AE83-5C4FF452B0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731428E-47EC-4705-B3AC-6D6D60720C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E30F2F9-4A95-408C-A3B7-E1CB709CCC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9C19F16-9118-47F3-A3E3-695CAD4D1D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AAD28B0-B7B1-4C40-AE3B-E79FC0A588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7DADFC2-CB83-4DB4-93BA-7C076F9662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BFA59E6-06D3-4125-80B5-B0F419B994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D3E2A42-14C8-4241-91BA-06972FC3EE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352DC80-EB72-487F-B47C-899B6D8A3C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79DB314-A1CB-4CC9-90CA-B24EAA6E94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3BF914D-160E-41C4-85CA-85D4E91FA1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1011F1E-2373-4C10-A0BE-077CF24E37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F251EB4-07C3-44E2-9913-859F7FE807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13F8633-86A5-4180-B342-EF78BC25D0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52C9DC6-269C-425B-AB8F-AA067666A5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DCDD8A8-0847-40C5-BC42-9C2A8D040A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62864BF-7947-42C2-8A38-8D7B4816B8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D918EC7-F317-4D83-97BF-1F3A3D201B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73003ED-EF36-455C-8502-5D16FF434A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8AE2D35-61CD-4EFA-BE9A-47DBC765EF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A21103D-8927-45CE-B0A8-CA4BD819FE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1B6D68C-1250-4E3F-B363-481D1FCCAF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DA94F86-7437-41A8-A4B2-4EF25A1263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F8165F7-BDBC-4502-A9D9-9D3234E891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8BF8A39-B326-4472-BD4E-4B634B845E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63515AD-394F-4375-870B-A1C425E24A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8A3C9A1-6C9F-49EA-9C61-01ADBDAA16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DC116CE-FB5E-4A36-BD6B-C9602655E3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3754731-1126-41BE-833E-49AF73828A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DE035D9-AF38-4EE1-8CCE-742F25E9A5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5980CFB-FD03-4990-BABC-B4B0F56A35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494FA6E-0824-4D21-9C94-3AC7021F41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3A01800-21BA-47F7-ACF0-1C69DF6AC4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293867F-96A1-454F-9819-F06A31E83C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D4EFFA9-4DAA-4204-B264-D9689AA1D1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D19DF53-CC5E-413E-9A9D-250BBBF731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F0F817E-55D4-48DF-8E1B-74B9631F0E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5747AFF-C321-4C58-B7DF-6C291CC772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08FCB39-91AC-445C-8235-18C3A62C10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FE2AE54-2516-462A-9199-DAE44B7750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6EE6DAE-1BD3-4D8F-9457-8B306F7DE9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0EDE15F-41ED-4483-A603-F91E6D0FBE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BE21821-0E30-4E1B-BD1A-75EC9C0B9C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A82D0F4-2519-43E4-A0F2-347A86CBBE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F57F780-12BF-4216-9606-4F93DE7A7E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3952E3B-7272-4A3A-A6FA-78EDD07EC7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AAD6474-E194-4BB7-8C14-B7EC848CBF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FDFE003-0737-4429-B367-D1C0CD119F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A6058E5-AB9A-481D-AD7F-94931A6B97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7875B0A-1E1C-4D51-B8EB-CC95AC9041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90ACACE-A21D-47B7-ACB4-DC21EA36DB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CBD5E40-5782-42B7-8958-85B66887CB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535080B-91DC-4658-9CED-C88B319ED6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BD58834-311E-427E-9814-5D20BE8C8F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4D54257-0C67-4CDE-B33F-4F5148B21E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0ACFB76-C4E5-44F8-9B1B-B5832C9B70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EC83286-2009-4CAA-9778-04B846DE95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6639590-8923-46A9-900E-6655A4B95D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C45E0A1-88F1-43D6-8B7C-E49BDAD5A2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3249196-9D61-4A8B-964C-A1ABD90FD9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5E9F7CB-E93E-4A01-8999-B9434E3731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4FB6190-E7B1-4F2D-B885-66F1AEC6FB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02F34BC-EBF8-44D2-9CFF-66B5FFF036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9C26957-5CEC-4E5C-A0EB-1450DB1BA8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9987467-B4D2-4C80-B183-4170E208B8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E6D1181-1A0A-47D9-AA44-A5D1258F5E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C3F7E5A-B33B-4D29-B966-2B3C4BB7E5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A454878-CC96-4367-922A-99C3BF0824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0E6D33E-9F70-44FE-A042-8720775902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0B8A2A4-274E-440F-AA51-318C5153F1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9E02DA7-4FAF-4A4E-A87F-B01CB65418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6A8541C-1B38-4BAF-ACBF-23C4B01DEA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3F9D7E3-4369-4EDE-BE28-748ADEAEA4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DB79A84-4B1C-434B-98BF-02285077FC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2C31CD2-C476-4C31-AE43-0754593D21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0BC2400-9F7E-4B81-8D90-9CDD172174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8F7523A-732D-45FE-954E-F9039720D9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3C91CEB-BA95-49A2-95D9-915FE051BF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7CCA109-D6F8-4A48-8F86-CC471DF948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82BB5C4-412E-4EDE-AF57-2E1F5F9707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96F1BC0-361C-4E70-A3DE-08A1C9FF8B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BC5B72D-9147-43B1-B866-57193BD4D3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EDC40C8-C097-4971-A8FF-DAC691A594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910E3A0-87B7-478A-A68F-58E98CE8A2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05D9B53-DF54-4CC3-93DA-51CCD9D926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C6844B6-F708-4F25-9711-947031AEF2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F873B0D-9FBE-4B56-AE1A-5F58639D4F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6457677-D23F-4523-8182-2CFA7D7300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720BCAB-527B-426F-A833-10D7DBFE91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E60BC50-D0EC-4128-BC60-C49E3443EA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C3E051E-2E36-4099-9169-9668A47B04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C1F4691-3A4B-45B4-8A46-9C7F2BEB0E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5F8C755-9C59-41AE-906D-5BF232112A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27F3F9C-985C-45E3-A4FE-8A27E44601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4EF8D4B-C003-46B0-A407-F106754604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23A01B6-B65F-4A43-83AA-3F449F55C1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AB5BA2D-4B94-47BA-AEA1-1AFAA43BE9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381C633-5FCE-4647-BED4-B0DD067E86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8C4C0AC-9E8E-4F92-8BF8-FCE68BE319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67456BA-E8D5-4414-8BFA-B25E810AB3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3746930-EDE8-477B-B328-7082D2ADB1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9E5DA2A-DF50-4418-9AEC-786B5FAD7C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FACD041-5339-407F-9C93-8F6C06EE91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351B3B3-0179-4255-BC69-6A8D5046E7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37EDC11-E84F-4DA2-8F72-C92C3D6048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081B3F1-9E31-4490-9418-F86C067BD0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1AF08CE-2511-4B75-A251-1BA05EA7D1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2CDD6B2-D855-48B6-AE6C-80BEE48D72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167BB04-89B1-431A-B5BA-3A2F2BB936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DDF8449-C53D-4B52-BAC1-3932ADC8DE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8089CFA-08AB-4EB0-9555-AF0B346157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A5DC9C3-5FF0-453C-92A5-2D06DF4241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D017ADD-F8E9-4278-B32A-BFB1C3A113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805932F-C187-4C12-9B59-3A89A2978A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546B813-F66F-423B-A4DC-E7DDC2C4CE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FFDEEC6-8508-4499-B21D-89E2520858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BFBEF67-3E83-4141-A199-CC596FDA56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ACD8119-E733-4F30-8529-A7A862EB67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5CAD37C-D702-40FE-8F7F-CAD49A3A1E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FF3EE8B-945A-442B-A143-C6CCF3ACDB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23BF867-6296-43F3-96E9-963DD40915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081D036-4775-47AB-9129-5D7EEE9847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F0EF680-F5CA-4E98-A512-4B13C22374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E93DB20-8211-4F3F-8E22-93FF47545C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9E50D25-671F-485E-9490-B5D4DB9F17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62142CA-E947-40B4-B41E-4253D73B2C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36FD01A-8E47-4491-A470-21E9695B1E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7EC5248-7227-4929-9E66-7B1BF7AA2E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C8E6DC3-9531-4C6A-B436-AD07F8981F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D3716A7-05B2-4AA8-B920-4715B2B4C3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82A51F3-22E4-4425-A45E-C384DAEEED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5164615-FD0B-402F-8420-1046D78DB2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84AC78E-FB37-4A3A-8757-C9F9C9B206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427AD11-F221-4901-AEC5-68D180EE6A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B8085B9-4533-4857-B0AD-2B8E1448C8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22548F9-7EA5-4DC3-9ABA-F3F3C70E1D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CFCCD1B-1B40-42A0-8E84-D349C3FEAD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8E89686-EAA7-4786-964C-0DCEC1B482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D95CD2E-687B-4478-8471-115DC521BA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B94D078-CAB6-459E-B55D-73746B13F4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54095BA-D66A-425C-88C7-FC0A9281D2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A82FC0F-2D38-4913-A830-8D033BEB1F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A7F5CCA-9667-43B1-9C7B-3B9C1F8FD6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595F983-FA4D-45B5-AEB2-25EE86624A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55FFB0C-00BB-4F5C-A42B-AD21760AFC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DDF595B-F4C9-47DD-BB91-019CB6CD48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4BDF85E-5C54-47BC-8688-8A1B925928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90F2BCF-2EBB-4A55-8E5F-9045E91A70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87E7739-5F9F-4F39-B1CD-4D58A92270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E8C806D-8656-4522-BC56-8C67B7101B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E8F733A-C3CF-4507-A288-334506D383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6689116-49F6-4123-85C0-3D8FB5C55F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9422580-1DCF-471A-A302-1620899BCB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4494F93-BDBF-4533-A808-6F05F73BBF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8205126-15A9-4FCB-96FD-7FA73D1944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8C432AE-BD5B-4DE9-BE17-D019A2601F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C493B46-25C3-460C-BF7F-FE6536AF08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8AFE825-5D59-4839-8ACB-718A81595A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98445DA-94AB-45D3-969F-35E5D9F238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00A92D6-5A77-4F1E-80F9-FCFB397A1A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08267A6-C3FE-4F1D-BC85-51710C01B9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579AD89-7FA8-46FC-9F1E-37B1550563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E0DADED-50B7-4B06-BC8A-5B87306FFB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DE90469-8007-42F2-88D6-AF11FBD5B2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A050EF5-F1B1-481D-BA48-1C72D16DAC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A146CAD-2801-44C7-A4A4-04C1D6C54E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33069AE-FC21-40C8-A290-10960EDBD0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72ECA31-75C2-4C70-88B5-AE5C0A39C1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4569261-2DFE-453F-93C8-C47197CDA0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1E5A0B2-AFF6-4E41-A438-12F86D048F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75FCDB1-51EB-4BAA-84F4-0172DF1AD4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7E31E71-6F89-47B3-9AEF-7FAC471E8E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6F29B2C-7B93-4692-B6BF-A0943724FE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300280B-F569-41BA-B2DD-8F282BE7EA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B7053C2-BBE9-4989-8BBB-03CA2FEE43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36D6618-7E56-4FA0-BC22-27999CD525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022414A-202C-4B6F-B2E3-8C849599A9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4AD7DF2-F350-49E6-8900-3AF0BE0902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2D6054D-B26C-4E8C-BCD5-EC0E40E84C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682422C-D111-483F-B9F0-C46AC884B7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3BBA79B-4BB4-4870-B635-16A46CD092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277B917-D245-47D0-9D5F-4A7861CB78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9DFD8AD-5FF8-44DA-A63D-3DFDD1744B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16BB872-EFE6-4C0F-9575-6D18B64186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562B8C6-3A92-4B52-A00D-019CDCF43E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BD7A10D-D16A-49B3-9A16-3CD930F11C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0D0200F-B4D0-4DDA-A62D-BA5702E9A8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5197C15-91EF-4F5D-9854-ED62D8107B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7E62338-8328-4D64-9736-B8899D8CDB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6D3A18C-6214-43BD-A146-7B7E459021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97090C6-5FF3-4FD2-A60B-FA9E424864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95809B6-50C3-40F7-BC8A-7641C13A23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1D8E5BE-88D2-4395-A82E-5183C4CA62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1C2DD8A-4FEF-425D-8966-947A3CB2B0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124C3C2-4AE2-4446-B8A8-AE1807782C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0A8484C-5988-4BFD-B2A5-0C388273C5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F8318CA-2906-4CAB-9463-681FB405CD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6EBE06E-46CD-45C1-8BB9-9BFD93968E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3F207DE-CFE5-4070-BE24-1012D1457E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A5CDA99-EBB3-41F6-906D-B11F8B031A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4E7F69D-FA05-4F9C-8A9B-C0B535336A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B0CE8E9-4B36-4350-A115-B36C6A7ABC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74A9D57-7728-4A6F-BC85-289A6F5E8B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F49E83B-BF77-4E7B-9E56-C4A3F8C9C1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019FAF1-8BDE-40DF-97D6-3BFFB8A996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C5BFC8D-C021-4B07-8C5A-5EBAAAC881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9C5E644-65EB-4F11-960D-B3F3737C53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BB5FA4F-8040-4759-83B3-7139DED791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1DB53A9-73D2-4B56-A5D1-155996F2D4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6FBDCE0-C17C-4FEB-A6E3-4B4417D2AC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867666B-D4CA-4BAF-8F32-9876EC25FE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D530CEC-24C9-4939-AFD2-E17B5EAA57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7A04862-B382-4622-85D5-F3D5BCC5E4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DC93DC4-5F3B-4421-B77B-D88AB772C7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F01F446-BE38-43DF-BFEB-01E0EA311C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E9C91D5-6457-42EC-BC0D-4971F63303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8FBACFF-CC13-430B-BCCF-BBAF652393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7EC5CA7-D46B-4D32-AED9-3D63CE0AF1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3818840-8FF8-4690-BD89-CCE56A4644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4EBC0F5-EC70-4C8C-92FF-7A19E7D1A0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565687D-F06D-44B5-A2EC-BDC17DC976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FF87E75-4359-4E58-AEED-B321A8EE46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B984ECD-8DB5-432B-AEF8-9BBCE138DA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A633612-9C64-40D7-8980-AA80B3BE83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28F3BD4-64F2-4148-B77F-91AE737685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E337058-210A-41BC-8E3A-4715EB01E8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EEA3815-E378-47F0-8A1A-AB1AB941DB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57266C6-7052-4E4E-BDF3-BB6899145A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9DA2AC1-427F-41CE-A651-4CF69C680E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2400C93-A2A9-4A75-AB6A-D476FB4F46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9DEF100-3F93-47CD-8CAC-064608D49F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F8035C2-8AF7-4115-BFD0-DA86DED64E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D2F216F-9315-4CD0-93C6-A225D9D59B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8E43307-F956-4C94-993B-8C6D14EFCE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A063B60-E5C7-4AA4-9F60-935115DC57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A1E1493-7B1E-400F-930A-122621F4D4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CDD82E2-324A-4C30-869D-CAF1476D78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1AB0C21-9DDE-4487-9B91-2E9C4BD080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351C685-CC0D-41F6-803E-66C576BE45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28C0BC6-9518-4B85-B528-DE146899A5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0DD6EAD-EF53-4351-99EA-0B50F8A560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3403EBC-FCE9-4086-82AE-07D83AC596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19B498F-033D-4CA4-8BC8-5920628F15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07E7C9B-7604-4B57-AD5A-36283014A7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987415D-0308-477C-93FB-AC29A7AD12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A5150C8-02A5-4907-87C6-7428D7A689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6A1AC04-181E-4825-AF24-C1E605FC5E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5A8CE75-F360-45A4-A04A-21FF0DA641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AD877DB-6FFB-459C-8CE9-DE72B00A59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B426043-CC52-400A-BCC8-18F468FCE8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8CED53E-AEEC-4B62-94DD-DA6782276C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84A3742-9E79-4E6D-A484-38EE2AC81C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13CD629-9510-48BB-85A6-B195527585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372F83A-1EDF-4AD5-844E-08F8D5E1D3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BFEB75D-BA7C-4A9E-AFCB-298AE5F7FB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F1045DA-C1E5-4E06-9031-A4FCB838CA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CF87174-EABD-4A30-AA9C-7D22E87C1C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0265580-D92C-4632-8FE4-23D0D6E84F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E3A03D3-EF37-4A94-AA13-D06E42B8B7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3E44C82-02A9-44AF-83ED-CCA5E1A03C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B4D2ED4-C71D-420E-ACDA-60581021B1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609A1FA-DE6A-452E-AC47-79ED835593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A3CD00B-EE8A-4F27-B8DB-864227BFBD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4DEA5E0-1DF2-442E-BCA2-6F3C8C4AA7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B4A781B-6EE1-47D2-826E-5E56C8F6C4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43B7B09-AB21-4E8F-AFC4-E745C50931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A1A180D-AC39-40AB-96A2-423310C542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6C463CF-8605-42FD-917F-CD91FCCCF8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8FCD975-F043-4010-94F7-7BE09EE52A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7253057-47B2-47D5-9A3D-54BBAA0475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458E9B7-E9C3-40E2-9D9F-C797BB0515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693C777-7CA0-4915-95E1-10D75AF2CD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77C8063-AFA2-40FF-AABE-9164665D67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67BCE58-26F0-465C-B8B3-D2B2B13F3F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BDA4D71-316A-43CF-897B-CF5D02ADE2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446B0F9-4C06-49AC-B5D0-0AA02899D7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3C460BF-0D0B-4272-B297-FE103BBC6F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CBE183C-6BD5-4168-93E6-73192E11B7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870A3B7-AE1B-4EF0-84F7-D2DF76DD5C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36F60A5-ACB5-4FC8-A99A-811430A32A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57BCC9D-DD29-463A-BE45-051347BE27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68F2908-B851-4D62-B12F-B21450B925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EA9B35E-632A-4103-BAB4-BFA32F3AFF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03FA71F-16B1-4A27-A05F-5EDF9D7DB9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715F019-F34B-4C91-9AC6-1F0C04127A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75E60CA-ADBF-480E-8EEB-34D95C4E6A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2CBB293-9446-48E7-9803-8EE6D98BC1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E107B3D-50A9-42C7-866D-8EFA153B4F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F15E5A8-EE9F-4047-AEC9-7D0808ED81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3165104-7C0D-4493-9029-B8AB04D1BA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AFE7A51-BD51-4355-88DC-90BE819C03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49E5E67-1663-43B2-886E-D4029570EE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A6DF88B-B8FE-497D-94DA-A9A714BE25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07FD26A-65D1-4B6D-880A-DA2A5DF196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EFA2FAE-5FE6-4359-BC66-248F1A6E27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9DBB145-3187-4B04-85A1-A05295BBDB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6C19356-589F-4DFD-974F-79C8E9F86E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14855FA-BB16-476F-BE42-D65C0CAB21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D4B00AB-4E5F-4C74-A23E-DC7D9F027B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15B4B06-4D3D-42E0-8E72-F46AD78F02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A261A1D-A768-45AB-A7AF-4EC7BEA9CF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9CFC5A5-05BF-4980-B063-11E2174FA2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1812747-7708-4147-B347-FFDBD4A6F7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17945BA-13E6-4C10-9781-BCD8621726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AB9FA11-5144-4707-A6FA-468C0CC5DE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4565E7F-B97A-4C9D-8B1C-C16050DD75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FE0339A-E71E-4856-BFF4-9CB94E4730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D602F81-A406-48F6-AEA5-628492BE5B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7CE57DA-529F-4DEA-AE30-2C208670C3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E960A4B-5429-453D-9A91-E8B45CB824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F265050-1A8E-4179-9FF7-6E9E1B21FA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FB3B7CE-E354-4C65-9449-A575534F59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53B5372-1DC9-4151-8B05-995878A9E1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2A219A2-3CE3-4249-92DF-46B1DAA1BF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6590944-3DAD-4D3B-A05A-A7A2DD3CF6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38C2E91-E544-4B32-AF8F-3074716B5D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EF832F1-A4E6-434D-A1E7-6F2D118E68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B411F18-7FF8-4E74-9713-850C75C811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9864716-0C38-4153-A885-4F7F138514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2ACBF47-A176-41A7-9708-92784D87B0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A49EF8F-C736-4DDC-8FAC-6D95A5D063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E62CADB-C06A-4250-A01B-694CB65569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E7FAA0B-3C79-41DF-A947-F687AAB647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444037D-DFA2-4022-8610-43862934B8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1292206-C4D9-40EF-A134-09DA986C5B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E7C0873-5971-40C0-B087-54A09A81C0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D410945-DE69-4A57-B27A-2CF6E32D57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E8D7F67-1346-43D2-95CB-D50046723F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9FBB61D-2DAD-4A1D-A57A-4780F185E9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6B769AB-2513-4F54-A8D0-36F1F4FD00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70CF5BE-829F-4EC5-9663-452ACE9D80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C67CDDE-79C0-42A7-A876-A308FB8E15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A2C48EE-0143-4917-BCB9-6C4E6139F5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AE4F1A2-92D5-4174-876E-BD643A3FC4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A41E2DA-987B-4FDF-B7CA-4A51FFF2EF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9365649-5047-4C93-B2F8-0C273D8785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B740FD6-BC4C-4DED-B18A-D9DBDA3E0F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2240196-F1EB-4B05-B52B-4C45DC4D4F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8BF0BAE-A93D-49CD-B408-21770EB278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3BC0BF6-DB46-4687-B4FC-FFFDEC5451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C23A012-C8F3-4113-BE05-4A6C977E52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73A49AB-7D9F-4757-8773-98D3B41DB4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817409B-B045-4800-BADE-05B596158D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CEFB14B-1551-4347-98AF-1B14FBA27B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D625738-AE61-4E05-8DE5-C49FADC1ED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2789198-0053-43DF-BE2E-DABB893195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A327D5A-5117-40E2-A154-8A2E56BC65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375C754-9C8C-4E46-9944-00F38C827A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1861090-A480-45F9-8C6F-60D8AE5640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6E0EA98-C402-4D89-9089-263984F1D2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201D2D6-9D43-4D47-92AA-369BC2EC79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AA7DE70-0E41-4DCD-B5FC-C0E488149F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5467BF9-5F7D-46C4-B4C2-11197FE8FA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149E9C4-D0DC-4CB1-AB2B-588E042BA0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5094600-919C-4EDB-8429-32362DC43C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7C72BC9-F438-41A5-908A-C994E100BF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32910A6-F37A-4551-BE8A-0E99B3CA66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F5CC370-E5E7-4635-8EAC-B52D7FABCE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03C7F68-9643-4294-900D-E8D957718C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8030B0A-F214-48A9-99F7-5785061AA4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83FDEF0-3711-430B-ACF4-816B8A450B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56F7C23-3D83-4058-8D44-1C8CC2299A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B5BD812-ACB9-4034-8156-ABD00D5FCA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D3D554D-B0BA-44AC-AF22-444843D189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77FE7E5-BD10-4A62-AEFC-19D81D518E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858ABD1-C03E-4189-89DC-5C21EFBCFC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033692E-4C12-49C4-A2DD-4EF646D2DB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71E4FED-5DD0-4A72-8E21-A0EC8174E0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CB877A1-BBE8-44CB-A94D-7AC7246E71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A8570EA-D01D-4F50-A61E-535A9F86AB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531DDE6-0604-4066-BD0A-BEB4C15EA9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1983597-1BFD-406A-A535-5BCA19ED32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55B1294-84A2-42D6-A1C6-7E483A9FFF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BCB0209-8B0A-4B39-B09C-9FC1BC5CC8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3134BDC-6AAD-4D3D-8499-E16CA3F136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5092447-1736-4B70-9C00-5F44C0A0C8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57C6CEC-8FCE-42B6-B444-97FBE8FAD6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A36235F-5C37-461D-B483-31DB08DB14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02FB530-0344-46E3-9821-28163143F1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7E599C2-B2AE-4E86-878F-E809AD7B17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CBE9140-CAEC-4F88-B7E6-8421A97601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9BE69AE-1507-4F2A-A182-6E1E72F0C8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C88640B-9626-49F0-AF72-FF70083F69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2E5CA2C-B921-4CB6-901B-3C89400530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177DDF6-B8D1-4324-8D3C-8C2BE37871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E121356-F5FB-4112-8971-E68E80FBB4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9E2A1C1-A93F-4FFD-B767-BC8098DDF7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F12FAFC-F010-4182-83F9-3D79A69CDF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4ADCA00-B4E1-47DB-B84E-577D31C036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847DB96-F54B-44B6-B129-131907A386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4A8A6AE-70E8-410D-AEA5-71F6109406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6D570B5-A427-46C6-8E72-5C02F12034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D390F66-4A3F-4750-8A17-91BF68C91C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48B3DC9-EE08-4C67-AD68-4D6A9EECB6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04624B5-F473-4F4F-BC61-8EB41B7E36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B77785D-5AE8-417E-942E-EE06C91710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8E0BDC0-70E5-499B-B21B-6440E4901B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CC34ADC-895B-4AC1-9053-7EF8AA4937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29356A6-FED0-47F0-84F9-7A71181854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D8CA792-6FF6-44E2-8966-B4593C0FEE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C39A1A2-2226-4A2B-B952-F98C5C2FAE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3844406-060E-4D2D-8AE6-F01A879F2C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F4229B7-C307-4E4E-9A3D-6AEE6B89DA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97FCAAF-CA9B-4478-AA79-A238B7591C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D613E12-57D7-4256-B7F2-D22D6931A4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F48ED50-12FF-43A5-BEA6-E28A546D71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2EDD640-04C4-4C8B-8530-2F2B6B7D8F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8EA8F34-C517-45D1-9734-5568C5CE3E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184AC2E-AEE8-43AF-83B4-2E784140B7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A89D930-6E82-4E31-A07E-DB87EBC219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4D51688-9621-4429-870B-AAA7A0773E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946B431-CAAB-455D-BF3C-B54040A10A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7872CD4-C8F4-446B-9277-AC81DDCDE3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30AEFD9-6E33-49AC-A9FF-F8DD5C575A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42B9203-B457-45CB-BE91-B1BD4D7F95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FF98410-AE9D-4FBF-842E-DDC41299BE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988F931-63F8-441A-8B6D-011060D062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FC7165A-8D88-4C04-BE61-D0F74167E6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FB8EA16-F313-4914-8A6C-21386CCEE0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C38C7FA-2EDE-466B-9759-A11E7CC776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164D83B-DF38-4AC5-A175-D8A762AE01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AD909D7-3911-41A5-9787-612C4D34E9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ACA68F0-3354-4DFE-AA5E-9F4023E740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0748EEE-F1B0-4D83-AD25-AC18A86222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3887768-2871-4DEC-8002-ABF38BA034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B9C8300-7992-4A90-A597-422AF106B4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CEAF990-4E08-401A-9D80-1A36506D99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8D9E20C-946B-457E-91EC-97042ED5CC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A38D1B0-7D9E-431A-BED9-466E6245BF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0A3D8CC-9FAB-4397-930F-F8E2775010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1DC6430-CDCA-4A06-8C17-AE793717AB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A8CB908-6922-470A-865D-2BB729BAD7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7ECA9AA-55BA-425E-BDBA-2669107A0E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0DF4CC9-5173-402F-AA0B-B521F11576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9F97D6D-5F29-45F1-8CAA-CDED4417ED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483147F-A934-4CAA-94FC-8CF3C95F91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6A90068-4F2A-4D12-9EAC-6520690656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854BA86-7E1D-4037-9DBF-2477A3F6CA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6FD1FB6-BD23-45D5-91B3-D2719E0C5E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3379668-D4E4-47F3-AEF1-DB69C171C9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721B518-7617-4C04-A125-7D304DBACF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1A9053C-7BE8-4534-AA64-259A086368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1020BD2-9E96-48CD-9B93-1DE8C9E345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D6A3951-8DED-4CA4-B596-9603744D73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34E05EE-ADF7-4CDE-8B4B-F1330B584A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B4CDEED-A709-471B-98D5-44CA9BFA20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4D1773B-5A91-487D-A1B7-563A935DAE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51C7CFB-60BD-4856-B496-157809B185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8194DEA-DB61-4CAA-9316-F632E15769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77B9091-5414-489A-A946-BBBF21198D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B20BD73-7493-45AE-942B-7991D8A729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F1CABED-2934-476F-953E-E23B8BF5D8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5A89923-F850-45D8-BE69-103A80B30D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1542A53-60ED-44E8-A02C-FAD0717A5E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87CC073-6A32-4D14-B614-D42BB59E1D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3D67E86-96F1-4DB9-84EF-1E04C4F0A7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D5CEE07-6ACE-4CD4-9D50-FCFB2551FB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573400C-25E5-4A71-95C2-2D6403DBBA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27E07C2-5FA8-4D6F-B625-7DD762FC27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76B7042-85C0-43E4-AA28-D1F39BD14D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C7D870C-2B95-4CE6-A589-E34C7EB152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114BDBD-ED84-43B0-82AE-CC1F4F0B6B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25230CE-7C02-4835-B043-15C13D6DB6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F2E5D20-971F-401A-A683-2D2D4A149F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AC4262C-0805-4D41-ACB6-DD37712802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64944F5-B27E-4D2A-966D-D2B1C2A118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7FD6217-4F9A-42B7-9F75-AA007FA233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8136959-2470-493C-A69E-97DE865B6F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017A813-274A-464B-AACB-1B230C2EAE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16A1DDF-962C-4ADA-97D7-10C05BBD00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D813D25-8051-4EE1-A5AD-4EAEA6A836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F3B53EC-8819-4C05-8CBA-A496B14B7D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E4F27B4-12B4-46D9-BBF1-BF19B7362B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E5ADFCB-2DFE-4298-B71A-F2C15C5193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0D35767-2EC3-4AF6-8344-437B56531E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C76A2B8-88BA-44C3-A889-401A2CB7A2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67E8E4A-EDFF-4FB1-B2EA-70ABA304BA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CD01EA0-BA47-40D5-8C19-88574717EA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98D6C59-1D15-481F-B482-CFF2F897EC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58EBF12-A19D-4A7B-99B3-475406D083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E9EA79B-4165-4C76-B772-C49739ADA0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1D78EC0-B485-4F38-A30E-55F724F5E4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5754654-71D0-4A1E-B076-33A7CED81B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3EFAE10-D8E8-46D2-A395-71D7F85575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3E36873-557D-4DD0-81FC-F35AA569BE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5EBFC4B-CC09-4A72-9689-32113DE405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3CE9AA2-9BD5-4FD5-A231-44083C3BF5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E4B7A8D-86DA-4057-8681-E222C824D9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F17280E-9562-4BB5-A009-5FD062CFFD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A1C85A8-50CB-44E3-8475-7827F95360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2482C90-053C-4F4D-B990-BADCC2C4DE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E461678-B0A8-44E9-8422-120AFFEAB9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8AE1308-8A27-4860-9225-642E617357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CA5F00B-4A6C-49A8-BEC2-761F6E5E10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D5C2D4E-A765-4CF8-AC50-E49E136217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9988A6D-C8DE-4AA3-9C0E-5A9B35DABA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B6A8CEC-9B5D-4B8F-8D47-D24A4F15AE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8F62A73-D6A4-4CF8-A097-2FA23CC71E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B548042-FCFD-42C4-9868-3E08CB5A9D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EB30836-79AA-4A84-88BD-C047CFF943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C0A684E-D660-4072-9AF6-EFE43881E1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D5CC8AC-E265-4F48-B490-AEBAA5566E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CE6F805-A43D-45DB-8959-B391AC4581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E2E0336-6E31-4412-8B7C-4AD587AB26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74B12D8-D962-4A50-9273-DEE781C15E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B644121-E255-401F-B162-82CA257868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F019870-E192-4952-B770-525D619A19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C2EF1FF-12C5-4A5C-9F94-0501FF01B9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6593927-E146-4129-B8F2-ED6232FB6E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68D7014-5BFB-4C95-8A72-D7CE807EF1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E7D9275-8E86-490E-80BD-D7B59C95BC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5C48977-0FB6-4497-998C-AB5BA4939B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785D4F8-5D4A-438A-8F75-063271ECDC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AA4D722-AD46-4D1A-BF82-4393EA286F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518F63D-B650-4D0C-A1BB-42B712AE8A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CB37ED6-19C7-4E09-81EB-B257950A68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5F86803-09F6-4332-A571-7FFFD7EECF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48C98AC-8848-46A2-800B-8C8D67FFB1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7D4E91A-EB43-482F-ACA2-26907D16D7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02C59F3-45F7-4A03-90BD-851C7DEEE0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9796282-7AA8-49D7-BEBE-7B787CD023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7E403E2-048D-4319-AF61-6FE19677A9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D4AA471-680D-496C-9F01-B5FB53B5EC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B40FF1A-6199-4EB6-B0A0-DF98E9E813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2C633F4-BFA2-4960-A111-E2C3A41573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EB37AC6-124C-401C-BFBF-932018ABCD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E7CDCEE-5B8D-4E27-90C9-ECF306602C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3E6A44A-46C1-4337-BD8E-11D8A5F344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1A8A6A6-1CD6-417A-836D-D6B1B3699F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43EED2F-D07F-4E57-B7AA-9F822B74C2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6FB4B5B-C4EB-484A-B47C-E97D27BD5F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5642D4A-6BBA-44CD-8B1D-11D9C87F78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6C5C1B8-F914-412E-B84D-1489E8385C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F7A5C59-DF5A-46E0-BD27-EBB98E6BB6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A595E65-271F-4666-A1D3-8DC68CF4CC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D576E4B-E29B-4D06-837C-B0F7134B87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4ACAD9F-1AD7-4A22-9B3A-C48925FD21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C01251A-8786-4132-AC00-E8395C75A8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ABADB28-9B7B-4DFC-8924-7A878C73E5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DC3A8CD-2BCA-41F6-9B59-01737DCCB6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9CF059C-8B21-4544-B9A3-854BD45D3F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DABBA23-AD9E-492C-A136-7F21EB88FC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3B843F5-26DA-464D-836D-F58138E831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1CCDAF4-45BC-4B81-A499-50AB2FD4AB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F1B057B-8E0D-4EAD-AF00-81A505488F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72143AA-7FCD-44AC-859B-3888079544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A7548CD-A2D8-4C48-9944-147E1B5A49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F7297AD-2FD9-4ADB-A94F-20CB1C66E8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6E74DF4-EE4A-42E4-9DF1-970C1EE0A9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D906293-65B1-4EE1-B03D-5258F9D148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E7D9B9F-A0FD-4245-9BE8-A9493C8A89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5727CB0-B30E-4A52-8655-DF372CEB9D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B9C0937-7DD5-457F-A054-DCC6F01255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42D0E28-FD5E-4B1E-8EC4-778FE6A2CA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35B802A-A069-4522-B754-7CAEAC14C5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9A1F735-F35F-405C-A81E-486D1835A0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114CE5E-22FA-4E38-AB77-CE66B4C3EC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B3F1631-D739-4621-80F9-01C2C4AF5C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8876AEC-E95B-48F5-8BDD-000F584FDB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A2F9FAC-1BC0-4E3E-9619-0EE29AD74F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776A62C-BE5F-4F88-A480-0EB663ECF3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B573C40-80B4-4384-B314-2D95ED19CA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B721D15-15BC-4A10-9B71-2232CB83CB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60F6B4B-B9E5-4479-B31A-208517E07F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9DE66D6-1A02-46AC-A825-659E13D2A7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6742978-3F3F-45AC-BD21-BE746C47F8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1F30C0E-FF21-4195-BF40-71CB150CDB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9809102-F4F6-4B9C-A63F-FDFDFA8C81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1579444-5338-4B1D-B7F3-6E9AD12CF4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B4517D5-49B5-4EAD-A116-5943703ABC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5153DF3-9204-43DD-97BD-5DAEDA3D1E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FAFAB44-B67E-4457-B29C-E61CFA8873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20EF6EB-D68F-40E7-8FC5-C70C3A0FA5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F46AFD4-C997-47C8-9185-FD0F1E2CD7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55A2D65-019D-4A57-AD44-222BEBBE14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2B8DF54-6579-4B39-AE1D-C63FDA5E6B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17D8DC2-83D3-42A2-8379-E66FDA7CEF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A1C477A-6355-49F9-B4C3-FCBA09EF03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AE6E8C1-9803-4653-B5D3-8F3059E937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D80153E-BD81-473F-8C0B-A67AAC3F3D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21DBCDB-7F47-4018-865D-48E150CF34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5DDE475-267D-4638-BD43-880D98487C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ED41C61-87EB-4D98-B983-460DFFA5B5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D5D7DD5-5242-48FE-8414-2A384E2A7F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A2354B7-A7AD-4AA8-A27C-A08DE09149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75CEBD7-F70E-4196-A1FC-A9D6604B58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5825C26-1A74-4B18-AB2D-2C1134C6B4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0E26A58-12B4-40B7-9226-5ACA1FC304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38FC8BF-E25C-4F61-B5D5-CAD53DB84B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9C507B1-9880-45EB-B4DB-2DFFA9C8C2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2FCA59D-6EE3-487C-9CD1-67252CFB07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BD925E7-EE59-4644-B4A7-89D8162292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F999D45-9910-4747-9F26-BFF196ECB0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8B6CF8C-A28A-4850-A0F0-17A78ADA7D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63E76C2-2CEB-4D38-9AD3-E98EC7A4B9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64DB1E3-CCAC-48C4-ACB7-54C4FC7C0F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6C622AB-F151-4E0E-9AF2-01D1C6803B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6CE5CC8-9C62-4E2D-BBC6-2442B61F85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6F36B12-4C47-4023-BE80-4E1158166D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79B8CF8-2FD4-4FD8-A6BF-AC438D8F4B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A38A5C4-109C-4691-A99A-965E001F88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DEA361A-F00E-4E0D-9286-B14CE07923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E276D8C-1344-4E5B-A564-BAF5B80811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824A816-4133-4EFE-A299-5AEB43EB9A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0F3B0AC-0402-4781-93C1-5E9CEE01B2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D47201F-C81A-41D8-9743-18F50DA647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AC8988C-46AD-4308-BF0F-8DFBEB1077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9F39A61-1CEB-4011-A6D4-708731192C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F1A98EF-37D4-4BA1-A779-245F7D254D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B0A9DB7-3B6F-4860-8337-B05B90CECD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63988EB-1358-46ED-8C7E-8D8B055DE8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3B21A78-C52E-4726-8F86-8574106285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0B77D8D-69BD-4A84-9ECB-D0CB7F984B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49D06E9-CA3C-44E2-A362-D6D2FA5F54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5A80A17-6673-4946-98C7-AF7FB3F695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A5726B7-F3F3-4546-8056-B7CAAB0110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F9EF614-8ECE-40B2-B7A5-4780DDB0C5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1EBE479-6AB3-4AD4-A88E-5E73689B2D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03B0B7A-4191-4F47-A086-8B8ED8A130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7C27C77-6CD4-428F-9A01-7BA64B3B3B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3CF1300-5F20-4B53-8C94-1574DB8188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9416E46-BF36-46F9-AD7B-9A6DA2CCFC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54840C3-C104-447D-B712-0A011823A2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BFF520F-0B62-483A-94CD-EB789DABDA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76DA15B-FF89-4B63-8701-642E13A1BD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9F20EAF-F433-4146-AA04-19E554B5B6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3B02D66-5252-42B3-9A1B-7DE5663995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0A9B055-8DA5-42B1-A992-2256D07CAD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DB442B2-4A9E-4EAF-9090-5249CC9E5A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3553530-5411-41D6-ABB6-79FB54365A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3E5F67A-A401-49A3-9287-4948458D0D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5DB7DD5-08E0-4E62-ABDB-5A9EB2A515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7755962-F559-4BE3-A90B-DAA41E0BF4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8E9E95F-42E4-4C3C-8CD1-C851AB376E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2E5C444-0319-4FD2-A917-24CCAEDC96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BF79DFB-DAEF-424A-8363-4785E4B43B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1AFF96C-4AA4-449B-884C-46CB349D15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34C1729-8923-4783-A5E9-C4BC0DB576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EA7B731-45B6-48A0-966B-E97CD1D964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761648B-D5EE-4398-9F53-90CCDDE720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EF1A801-362D-4CE7-B659-1131A0584B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22B6A5F-D86D-4F63-A425-4D2DC242C0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88A2BFB-8481-43FA-AC22-DD92DFFC69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5591D5B-462E-486B-A893-9AC8277739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2020A37-7FA0-4D39-AF53-69CB5708AC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141BD82-CB13-456E-8529-607B0DD4A7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FC0EDC6-B3BF-4025-AC9B-707AB83066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F48691A-ABE4-411E-A7E1-C0450E2D33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95E5075-A5BD-475F-9A8E-1975714265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02A6C24-E983-4109-8A2B-0F329C2A6F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15E7EC1-06BA-419F-A023-2C17A1E82A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3AB4BF1-8650-4064-896E-0E3FBAE9FC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3F3138E-ECA6-4CDA-989F-2598FCA5F2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4A18D91-EBDC-400D-ADFF-7B32DF25E9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BA3F997-6E40-4313-801D-FF7A9C0F44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E4D7AD6-F4C6-4332-BC50-A635CACC4B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B8AA445-8411-45A6-8E29-0AF91BB20E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F8D800D-F7B6-43D2-91C9-355C500306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B2FE92B-39CD-48DA-9D55-9A25D746D1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1AD614D-FD02-4871-8951-99707B7412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1753407-3E97-4342-90F7-1BCDF07BB3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09D61D8-6EDD-4134-BDD7-7F4A64D348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1EB9A0C-D412-49AC-80BB-94FA5914FB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1620C89-FAE8-4A6C-B83C-635FC8F2E4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AFB70D6-7BCB-484C-8232-0E668F1844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5C52E9D-AD45-4A2A-8389-8AB3E06699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7BAA911-72D1-44EA-9108-539D2253D3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CE43637-C400-4A6F-A23C-861581A38C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68B5F6D-67B4-4945-85E8-AE8DE2B02B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3572A7F-44C2-40A7-AA5F-DDDE954BF3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B9A3B21-C21E-4E5C-9E2D-638E486EB5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3943380-3C57-455F-85FC-7AAFCD56BC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268FFA8-AC22-4D93-830B-C083B07B74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EDA0791-8521-4329-9B94-1B87CC705E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E2477B9-0043-4AD6-9723-CFDE9FA3F1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EAA28D0-0D8D-4E91-90CF-53C9D08EA6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DC2F6E6-0EDE-4EBF-B1C0-B84D444390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BC382E1-5267-46D1-8DD1-76C80E823D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067374E-2B75-4AF4-8891-CCA77BA6CC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1EA5A3E-A568-4AFB-93FF-D0DB0E7E9E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195CFE2-8714-4C54-9988-A7B441631B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899B503-97D7-4A67-AAEA-C6B5F32293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5B40DA4-A09A-49A1-9E44-E37AA02DD5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EF5E4B7-3E1A-4F33-9527-1D7A001CE7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C6654B3-D0D8-429E-856C-57510DEB8F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79A98E0-5AD6-4BEB-8E29-9839A56EF8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87AC121-957F-4EF8-BDC2-7AC308447E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5DE6C32-C39A-4A5B-96C6-4E0E991645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7D16E85-103E-4215-A9BA-B8D5252D59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5C3CA2F-AD7C-40DC-B87C-12B7BB52AD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1187A3C-E358-4C36-9882-9194F2B878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DFD1EDA-1100-407D-AEFE-EFED6A9D0E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9230165-A5ED-4BB5-9FA5-B3915EDFD3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34A6399-F4CD-4DA9-A5A7-22EE64312A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A9CB257-21E1-4E71-8783-7CB3049847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86F0A52-A43F-40AA-8E1C-140FEDF9BC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C33FEC9-D0C7-4059-BC86-3D3AAA1073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C485AE3-FC81-428C-AAAD-829F23B168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9F50792-BAE8-4E1F-8BB4-DB90908CC9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6128830-8F74-4FA5-97A7-248087F49C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827C603-0D83-4790-BE1F-EDDCB0C759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8E6D4CC-8D50-4469-9CAC-149A3CF062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6DCC71E-D9AD-46DA-AF57-26F68B597B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29F267C-D30C-4052-A8EB-DDF833FAC8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DE6FAB9-F263-4AF2-82A6-B29196D1A4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2DD5FBC-6C1F-48AA-803E-A4A0380E0B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5587708-965C-4396-9ADB-B1C419B953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5FF6DBC-83EF-421E-BD82-666ED1DA25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FCE52C4-33D4-4FF3-9943-405AA88147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42D31E3-016D-4749-B302-CA74D39438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7AE62B8-B02C-4567-8C72-E56F521004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6D811F5-CBF0-417B-AB90-8B596CAD6A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60EBBFF-7F29-49AA-B0B7-15F2A90A1D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FE177A2-AE24-4F04-A455-B9FF76C016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83EA0EA-2C6A-41CF-8150-6192D5312C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8E99773-A70C-4660-BD32-EC13497F5B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9B20819-ECBD-4675-98AE-7BBC1626C9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28CC10D-E4F2-496E-A5EA-41C50AA473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85749B9-129F-4BDA-BACD-AD9AB90051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CF790AE-E30A-4C4A-A79E-498BF6F453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A8B3E16-7D8E-451A-A205-2B851C2290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CC153E8-AAF5-4E86-BB2D-B75BCB5D82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B37CB02-7F7B-4FFA-836A-40A285C1AE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3B77260-4290-4F99-BB77-137BE6190B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9D4E1D4-B0C1-42BC-9A87-A7BE7470E6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6BA57D5-8B74-4205-BE5C-D91811A554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33517D6-BCD5-4B25-A533-13B6A9EF9C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45FEE5E-FB27-427F-91B3-46EAF633DC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42AF8C9-CC6A-483B-954D-C17067C47C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7018B5A-7F18-4AD3-8563-1576BE9F9D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9D3A677-098C-4164-847E-86175684DB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EA20403-C1AE-4D9E-BE4B-32EAE34957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85D1A63-A822-4634-A444-6A75AA9EC1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41E6A96-9736-4C8B-9CF4-821D9C0603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8FA09A5-A70C-47AE-92F5-5F99FEF00F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1C4C783-E5A4-4A96-B0BA-16CA85BAFD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37727BF-826B-4CCD-AC4E-9CC9D98D81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0A4323B-AA5C-4FF3-A0AC-78CFE64838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F19EECC-16FA-4AC2-A9B5-512DDF396D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FEDF23D-F68F-460C-9B18-9702034306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15CF306-902A-4A26-A68B-B341AFCA79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57B4456-00D4-455E-BA52-E3256109D1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4A63320-CB4C-4D2F-B810-AFFD9F0DB0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D8666CE-3A56-4F4F-B25C-1B53C723E7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B357052-A132-47B6-86EE-57FD332F76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9FE90E6-05A8-452A-B656-FEB7432401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B9554B0-6B90-4B0E-94E9-2C9AC4ADEC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D6EE2B9-C9F4-4D3F-BBC9-DAED4099F2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0155235-311C-42F7-B69C-7E5DEFBA9C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9D580A2-A7E9-40E6-A40F-CE33E45AE7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85A5C8F-E147-4A07-9829-72C4D1454B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FC8B2C0-DA70-4DA5-9E59-F91BDD0796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74FE657-00F1-4A82-945A-B4048A6C73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3960C6C-9C94-44C8-BAA2-6B91699B68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6D79ACC-F490-45B8-9924-0B5197EED7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5158CD7-C968-4629-99C4-29939C2704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96C0833-C783-49D4-9777-D065F5A0EA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BEB81B1-5A71-4225-951B-B63D87CC9B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39A2C36-BC7D-456F-AA1C-851B97F302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AFBD33C-05A9-428C-BBAC-56136564A5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E4B918F-99D7-42CC-ACB5-661E28FDAE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09541CE-3AF5-4783-AF5C-0DB35A2CF7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B474A8C-D3E9-4B89-96B6-16BDD719C4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D0EA983-5C0D-4F2A-AAB7-D8A7F0F831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94579EA-B5D3-47B4-8BA5-66AE76E099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D02B989-3983-4237-ADBB-5E2A7445BD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B69E978-8B02-42B9-952B-76701F0FBD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75E7A80-9767-477C-9164-E6BA42D1FC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3AABEBA-2B4B-4B24-BDAD-DED9EDBCC2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7E4F7A0-B5B3-454A-8F68-0BB287292B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DC9F3DC-6100-4F24-AB72-20CB756AC3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8FBDEE2-9552-4248-BF93-6EDC46F49B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049E51E-4174-4B2F-9EB5-9805CABB35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917893C-4AA2-4A50-AA5D-2250E5317D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D1C562E-CF2D-4826-8F7A-BBA9861813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A177B5A-08D6-421E-8562-ECAEB7D2CC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D83F48E-4042-4E40-B128-8CF25988F2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A18DB47-B39B-4B35-94B8-5C1776E043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61674A7-C2E3-46E0-92AC-8B2B2A4C6B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FFB24BA-2151-428F-9D7E-FD6B2EB561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DA99FEE-9FA4-4C2D-9D5B-7CDACB91F9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C3F7C70-21D0-4CD3-99A1-76A94EDC39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E3C9C44-EEB3-4614-86A4-17D24E3F1D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81F9671-F0E3-48CE-A728-EB69822F97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B10E507-00EB-4432-9086-62C9ABDE1F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CEA19BC-2FCC-4FF9-B501-89DB2A7963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788BAF2-95A9-4CAB-A153-F7846E1B4A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431722D-B88B-4FC3-8FCD-769E78DEA6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8C7B24E-F7F5-4189-A85C-09E71620C1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C4734FF-C958-4F36-A941-17DF592BC3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D447FDA-09E5-44F4-B334-DA4FF34EC3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2772EB8-E812-40FD-95CF-FFD41EB395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2705C18-C9D7-4AB4-8671-16973BE584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ABC57F2-3489-4312-A885-B001349E2F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5477F8F-B962-42C5-8162-DD9BF92B20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3CCD823-28B5-4C7F-9822-28A218B2E2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FE60246-4BD6-4704-86B6-2E68C0CDFF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0FFBD3A-0F93-4456-B625-F629AC8E18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7B437F7-005B-46D2-8A33-19B4C77A77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3CF3BD9-97CD-4CCA-883C-CD9413F47E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09D7828-6F01-4003-ABA2-771CC33D5F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5C02C48-AB18-44D7-90DF-6BFFBAAC52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7290D55-6211-41B1-82C7-299EF61696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BBC67F7-2169-47FB-9677-964AC975B5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B9D3739-7B0B-436D-8AB6-FEB29D5716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2B38842-FF7D-4DF7-8B79-CA48747B29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2EA1FF7-58E3-418C-AADC-86F8419F81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FCAF9D8-DB5A-4D7E-98A6-D00B1D8D26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26301A5-D7C1-4874-87A1-CA47FF17F5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9772772-4364-441D-9CAE-35EFCE7407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378A095-576B-4CD1-BF38-1DAFDB538A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5910F98-F7A8-4ABB-AE76-FFAE461A17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B0BCCDA-23C4-4566-95E9-40B23AEAB6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D9745F4-34A8-4423-90B7-81EC7166E6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6780045-7EE3-47CF-81E0-477B2C49B8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53BE45D-A7B1-498A-99B1-C226AA5D0C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5D95D79-2BA7-46A6-B224-86F718F69A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F5A350E-8337-49A4-954E-A12D686854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281F7E0-9963-4991-9E23-98DCA331B3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98E4A1A-AFD9-4CFC-9AF6-C6FDCFF6B8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25415A9-45CD-403C-BD74-650DE023DD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98D9FB3-2BEB-4B2D-833A-CD5B4FAB10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B6E69E7-2C36-4322-84D9-7C9C368F6A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698356D-2C1D-440A-B737-65DD4AD25F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C13A8B3-1688-49A6-916A-908B23A21D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AE274AF-3072-49B8-BFB5-8799AEEBF2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7D6907F-81FF-43D4-BCF7-7916BA0CE8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B53F9D3-00AB-487F-80C9-8E8A010BB0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E6D128C-AE2E-4FB9-B9E7-2C45D7E128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509C0E1-613C-4E87-B76F-E449FD586D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CA996FB-E1DF-4EF6-8185-911D11B08C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83520FA-0222-4D0A-B8C4-4672488EB8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56D00C6-1AC2-4777-80A3-98EFE184D1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2D6B4B6-F465-4D36-9F25-B3E3407F4B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DB02DED-100D-4A5B-BDD5-4D7495FC7C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866FB11-5F28-4A84-ACF1-B634335669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3960515-9898-4EDC-9891-756BEB44A4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2A368F4-544A-44C1-9EBD-701310E497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418384A-7F97-4788-948B-025CADE17B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B290AC4-0ACB-4C69-9DD0-77C9D7CDF7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96E4546-0402-4A62-924A-ECEDF79D8D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AEC8DB7-FED8-4B2C-A7C5-319960F763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D3C85DF-CFAE-4113-820E-405B941B00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6170B07-35F1-4620-822A-3A540A0A14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80F2A2A-5ED5-4178-98BD-8EE4E7B5E5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B9E933F-CB9E-479E-9937-0FF15F0D4C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9203CE6-72CD-4FEA-B9B2-A4522A6309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3E283A5-4BDA-488E-B7D5-80591E60FF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4CB441D-13F7-4AA3-ADFB-08B19A1811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C9C1FD7-06C7-4A3C-BB9B-E107D6B8EA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90AD337-3D2C-41F3-9421-8517B4FDB9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F7BDCC3-C427-49BF-B891-65ACDD95DB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39721AA-6740-445B-94EB-2532F6FC4C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AB8037D-0E50-4F2C-AF90-9D00D58677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8CE4DDE-3D45-4057-A7BC-7C3173E49C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A932476-C4D4-4499-80D2-78A6C163FF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8D9830C-022E-4EED-97B7-6E0609CC95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68D81DF-4EE0-474F-8256-7B9C110613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3F0F391-7EAF-4947-B9F5-27E6AA65CA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9ED1635-599D-4A71-8E83-CE3B76903C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B909D7B-816D-42A2-AAA2-BDB59B4AF3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F7D99C7-32E0-45AB-A159-383DF2A572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C136BBE-E26F-40F7-80AF-22CFB71772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67ED733-8A04-411D-AD90-E753F356B4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551B5AA-8052-4D03-9805-24BF5DEE04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41629D7-8334-4628-AB24-D2DC7AC60F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2528AFA-AA18-48A8-ABCA-60798F8711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071E737-E1E6-4675-985F-78C6CBA579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1AB5B84-FB19-4B1A-BFBC-622597B599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E1F303A-B408-493B-91F2-45C164CE5D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7E1CB31-51BF-4C2F-9CA9-1D3F66B89C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D63C76D-0D20-458D-962C-9A8AEAAF8D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721CD6F-4649-4E19-923E-32DC12542F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981655A-306F-47C6-A383-E783BB188B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9EEDEAE-41D1-4A9B-9496-2832DBBF1B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2B6807A-47BA-402A-9C6B-47627EF8B5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7D00C7A-CC1E-4992-BEF8-84F39459A6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DE888A5-BEAD-4BCE-97CD-FC3CCF68A9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D26C300-D992-438D-807E-06F2752D46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7A99623-7A8F-4986-ACD7-8B594CB946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D05DB00-6E35-4BC3-81ED-4BD4C5D8AF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72FC994-F584-45D0-A7DA-82BDE78489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314BFED-ACD0-4163-A00E-14243C79A5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696C1BF-21F3-4E5C-B942-4CA4D97883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59835C8-C7B0-434B-A632-56ADE1CB9C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354BC50-352B-466C-9FAA-611876EF90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139CCCA-1DC0-4DA9-8C02-E0F406C4F2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997C6BE-1E4E-4EB3-8843-0BBB00CE7D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419909C-6EAC-44A3-BE3C-7EE6302C5F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E016606-C2DF-451D-BEF1-EEB066D8A1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A0D5897-50D6-4CED-B031-FFDBAB7AB4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19BA02D-518B-4742-953A-DABE78D103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184373C-546D-417E-82EE-6FED0D62AD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E87A0DC-5457-448A-A3DD-3501444935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02CFA1D-A005-4F3D-9973-84A85F9392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3A4778B-94B1-44E3-A9E3-1BEE8ECD41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5E56921-24EF-4786-B054-C7FCDEAD63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C9AB635-9544-49B2-BFBC-66E038AC30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A232EC1-2535-4134-A263-D4A1C9BC16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19E7AFB-AF9D-4189-8CAD-1E550EB940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E549790-914D-460E-A98F-997E3566A6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146FD0B-5DC8-4CA4-9CFC-DBAF7C69AB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2A0BB50-FF14-47B7-979D-EBF92F7CF8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1555929-0433-43F5-BFB0-5CEEF30112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0FF396F-0E38-4C9B-9FBF-23E0F251B5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6657761-9A0E-46C7-8E18-B122766090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CE5AA21-E95B-4E57-81AD-2B560C3A0F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9A74C6C-0431-4590-8452-202B828191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151AC1C-E642-4061-864D-964CDD53F4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C9B1F10-07A3-49FE-B292-80FB2DCB06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156CECE-BC3A-4818-B696-181F2AF5A0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D645A63-1BA3-4848-8C79-4055525BF0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BC7C660-9309-40E0-8964-9FE10BE717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37794E7-EB2D-4245-8AB2-A35C2553B6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38FAE85-CAB8-4B8B-BCB0-AA14F5E1F3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44248FD-EF70-43B6-96C3-A1B8EE3E5B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C506118-5A1A-40AD-AA1D-8873DD3CE9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FDB9D0F-45CE-4A88-8BFE-83C6791CE3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8C5E6A8-2337-4684-A471-61E86CF219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2CB1413-FFA2-44F4-A8A5-FF57F9F026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A9CCC3D-113C-4F7E-9511-D3DE275CB8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C6C2911-9956-40CD-97B1-902A8DCE4E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01025E6-B98C-486B-92B1-B1D082CE72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922BF33-0B63-466D-8C88-2A24E4D312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BAB304C-6528-497A-A217-AA77391430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DA3481B-03EC-425F-81F5-CD8C5C306C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25DD4A8-69A1-4D30-8C48-ABAD8BE886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BC4ED5E-439D-4C49-AFC7-4AA4674D4B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1D260DF-78BE-4C7B-B7C1-2E29AC1139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A393E0F-AED3-4EE9-B09C-BA8F6768A6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B23EAA3-4494-4618-A3AE-A42963841D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D9E7CA9-E6C3-4260-B555-42FEECBD84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7F9380D-400E-4F52-B4C7-F59CDD179A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14B53D1-2332-40A0-9158-60CC518A1D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C1AFBD0-C653-42E7-A9C9-032F76A22E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DCD1B10-F556-444C-848B-5E29263DEF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2737873-FFB0-48E6-AA5C-4FE36AC4FC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B965F57-6714-49ED-B4EE-C9EE392687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BEF5576-48FD-4E88-8999-771F8B68C7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A20DF70-26CA-4B63-9F06-D39E5495EA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18F284B-6F2C-4686-9E84-CC319C8207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B552B27-336D-45D0-BF70-27117B121F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E4108A9-6FF8-4262-AB68-C59068A170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EE62A40-B6E3-448E-B58E-11913AE2CA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8F0C008-B247-4D7B-8801-369E6ED7FC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04DB4B9-E247-42A1-94A9-EEFEFCE145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3AB1BE8-598D-4EB4-92C2-997758E66F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E9A5812-0926-4687-AFE3-E898B11D26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C99A832-ABAB-4DC6-949A-EEF26CE7A7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2DB9D5D-5599-4716-8FFA-F3F1FD8037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19B48A6-2BDC-42BB-8A5A-487252E50B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10B33C5-968B-4BDE-881F-D16E694383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8BEE019-DC5B-491C-BBF5-602B84E826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CF00C54-7A17-40A9-90F1-4B88D4243F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EFEDDE9-8799-47EA-AE86-0BCB8DD98E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9918512-CF78-4529-8A93-9CC8389F1B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DD34733-D039-46B2-898C-FAFB95AECB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A8440C4-BA26-4A91-841A-82E0611405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16CBF0D-DE66-40DF-B7BB-F94D01CBBA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35359A0-2973-4403-8714-D2F827FF75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4F7EA5E-87C0-43E2-BFA9-13A176DF55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4FB830D-EEED-45F2-903A-8BEE15DD2C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FDADFFB-7659-4D1C-B04E-14A6AC8842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DCB4F02-BCF6-40FC-83B5-5E8014FF2A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7368A43-5ED9-43F0-B422-F2E35D08E8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0FA2CBC-E7ED-49D5-BC8B-2DC4706A5C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4DE47E9-BC87-4D7A-9A04-F6E1E8A329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AD079F8-9AB0-4B3F-9CED-F0705024C0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FF1B686-D4EE-47DD-A4F2-8FC4064C6C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5C278EC-51F9-4D3E-8EF9-C410B83686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18E3B1A-73CE-407D-8EDF-45C0E971E3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6C8C41F-47AA-4421-8071-05E01328F4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D9281AE-E721-43C0-9603-9C94F53272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EBB86F9-6ED2-4083-BB98-0152194C44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5AB9D11-BECB-4F46-8DFD-27FEF3D7BA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E237F50-9BE5-4AFD-9FAA-0755D3F27B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AAE9BE4-D88D-464D-978E-802B01EE23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E40FCF0-8607-4363-8D8E-AC5DE3EBE3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3CFFEA7-D142-443A-864F-63FFC18CEC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DE6A9D5-F5EB-47B2-AB69-EA682136A1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38E0DF6-407C-4FD6-8B31-F9A62FCBF0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CD7389C-2047-40C1-9A3B-CFBB42A06E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3D854B4-5C9B-4D8F-B3AF-899F1E4B7A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754BCAD-FEB7-4603-AC64-06FD8E5F6D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1D367B6-378F-4778-80C6-15E2855531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B750B46-3F94-451E-AFF3-25C53CF0DB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913042B-FBED-427E-AC50-960C821F05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8C270AF-41FA-499A-8C2B-B3F2A4DA46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2380F5B-1189-4905-829C-A6FF4451FC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E3867BA-774C-434A-886B-C2E942B652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EF30C73-E16A-4244-9118-3E74658FF7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ADEC2B2-B210-4F32-94A0-36F7F2C7A1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3655800-C54D-4FD8-8012-C230952B7F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41F7CC6-3EFA-453F-94BE-EC620336EE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497E046-152D-4C91-908E-564BE73757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E29E5BE-E7EF-4853-8517-4CC65C4297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355CC22-72DD-460F-8922-72E4EF5305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02D2BDE-70BF-4FC4-8946-E8B286C49C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4FF50D2-D6C7-4396-B42E-02A7B387ED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1106431-7786-4216-8BDE-E254AB9572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A0E2779-06CB-444B-985F-B882F37CC6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7F44A1F-C18D-4459-9EAF-921EF2ABEC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A398F17-ED68-4F6A-B435-7F1FC5212F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571E845-B354-476C-B1AD-040E489773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C56F752-19D7-4553-9AEF-88899C1025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B81B33B-26AF-4F0C-A8EC-319C95DEEF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75CDAB3-9D5F-4767-9004-D7B37DE01E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32B0E22-6952-46AE-A57D-6D98A039BC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EFCD62C-F7BD-4D5E-B20A-E257F21302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7A5175E-C4EA-4246-A9CD-ECCB09A4D4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5FC51BD-5B3D-4E52-A003-CF6C38E8F1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C752D1A-9959-479B-8B7B-15BF80969B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5418A86-9E2A-447A-9228-3C7F09ABC1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8B3DF7F-8F08-4A25-A927-65A4C6AF3F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23D1024-86BC-4D18-B388-39631C06A0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CF3161A-15B1-474B-B754-3B6FE3AF86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04DD8BE-0107-44B4-B4A0-CC919E6A0D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8F1FCB5-594F-40F9-8D94-D0B2B4C351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4DA1C6D-31BC-4C2D-83A6-D84D862578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6A9CA0B-E136-4AF5-982C-AD23DB63B5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0DB90F3-AF63-41B9-9CF7-D35E3CCDD5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B42D166-AF5F-499C-8DFB-0EAD5C4E8D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E87B736-D286-4A1B-ABC3-E9DE7063E5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42BD477-87A1-4674-9663-7C82C18CE8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E022B1F-47FD-49AC-9D09-2FF86B966E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156D77B-8A4A-47A6-850D-CA22775ECF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9BCBBFE-F29D-4751-9DB2-7B15C835A8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72D0D78-6659-414E-86EE-21F34913B5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13CB737-4DA5-49DF-AA09-7045E58103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2BF43C5-A473-4C64-947D-82A19EC878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EC52832-201E-44C6-A564-4C6BF09964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BB12704-1EDB-41BC-A7D4-46EA78BD73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AA2E172-F858-45ED-A601-1646BD9353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4408801-6C6E-4C7C-A680-E93DFDEC7C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6A154BD-F4A2-4D27-9C83-751F834FB3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2814C94-52AA-4905-8665-CDABBDBCFA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8916B03-C610-4A71-BF15-BDB807D969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A3A374B-3AF8-44F9-94EE-F94518324F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D98F3AA-252D-4030-AA4C-4A5EF00FA2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BD8F3B3-C2C2-4BA8-B2F8-3E028E169B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5467661-82E6-4B01-882D-5FF142DE99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7DBDAA0-618A-4ABB-9CB8-D66585B28B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E5733CA-A03D-4CDA-A6DB-4B7A198444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D834AA2-2591-4C24-B880-FACD58D035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9841068-E617-46EE-88AB-7409ADA07F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1CB3F60-2736-4F87-8CA6-5C36AE84A6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7C61DEB-545B-437E-B7A2-AAF8F7B71D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88B5F05-1D33-439B-A4DC-9E5AD14CCE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2FB9063-E6A9-448E-A80E-423355A5D3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9D9C57C-21F3-4F06-A034-95AA48A0CA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8D49A6D-AEA4-42BA-B9E3-852B35C0C6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1269EF0-50D4-433E-8872-83B149C2E3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BB35262-F219-4812-8DF5-4018F53D39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DFD1193-CA75-42C9-AE01-2C5460A8A1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C16428B-26FE-4BB7-9215-21BF2FF33E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D710836-01C9-4E24-965B-1D6000EA00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ACD8C61-758B-4BD5-8EE4-C0B149B604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2F13C79-5F96-4542-8A73-1DE962DD4A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1B20E2F-08FC-4127-9ABC-4EE11DF0EF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5275AC4-F1B2-4D91-8EF1-D0711340F9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FAAD488-2BAC-4B91-9A3B-C2A3491B04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7C1D108-5716-4AE8-AD91-A51D3C622B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40265EC-093C-46FF-AA79-EC12E9F0C1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785E477-5473-458B-82F7-BB1922F72D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E1E4670-96C3-478D-9ADD-CBFA937912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C7BEA81-F236-44D0-89C5-FE846C3DD0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A16A321-168E-4605-9440-A661F46447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1CB12EF-8651-4957-B15B-0678312F3F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BC78463-A7D3-49E6-8F5E-36930E4FCC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AE5F60A-4E76-489D-889C-CBA80229DA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48A341F-9E06-4678-8C3B-D23ECEEF72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6EE8534-1210-4203-A392-49B27421FE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9EFAFA2-F9A5-4CB1-A812-2CB5921ED0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40BD747-6F61-4F74-8992-9D57FACE8C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599272E-C5C0-4924-BB03-5DDB6CCE56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6C505F4-3914-4C2E-B498-714DBA8061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7930930-15D8-47FE-9161-0D2CB864FF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E6CFBBF-2EA1-4A2D-A12F-7A3698B098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5A6970A-2541-4B29-99AA-053E0AB7A6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8B759EC-1D6B-4A53-84C6-A0663D45F3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22BD69A-7286-485A-BA06-3544BA8ADD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A8E5ED3-55DF-47B8-87EC-029780214E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D698CEB-7CE7-41E7-BD10-8915D1EEA5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536CB25-38C9-4709-8304-7EC6FAF2B1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39805F9-0601-4C4A-82C6-2F16D01860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A73A1A0-6EEA-4DB1-B37B-4917F72AAD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90F9FCC-2ECC-43BF-9B95-8ACAB0C702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EC12E2F-A8B6-4A67-8953-8FC691CF42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68C04F2-B821-404A-A57D-6E21524DD8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7C59117-D247-42D0-829D-38B9162ACA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F6A40EC-0CF7-4A1E-9E62-99474A96C1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52D4371-6183-442D-A070-739E94A069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4AB7727-1FEA-49B7-8270-CBB947247D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05548A4-4CF3-4B3D-9D11-FDC4EEEE85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80BCA92-66F3-4DA2-9DCE-E17282D106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D883128-28D5-48D5-90F1-94B6763037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EC1BFE5-CC34-42DC-ADD2-B32A141C51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7B2079F-DB2C-4C62-B317-DC4305069F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0F56BDB-7352-4424-975D-B6F945CDF4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B43C5E1-7CAE-4E63-9408-C53826CC37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A934664-2DAD-4B54-9CF2-5E2A492CD7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C7E023A-4CFE-4AA8-883A-8823354B81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ABAA89A-676B-4E23-A844-5B1CC7A6B9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1E0FA76-B267-49E8-8349-6E7E9633B0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9F60E32-0780-4686-A625-97EAE13966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93F5898-9E06-4090-B20F-832D5FC31C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579A395-62EF-4FC8-B3CB-04CD6F5CD9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4541619-7209-446B-8C7A-169C2BEFBF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C8C7B48-BB66-4202-9E98-C808D37123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E897A7B-27ED-4F0B-8FA3-C2B1FEA42D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A9D303F-4CAC-42AD-8897-304EBD3806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8E5AFFC-0149-4ADF-B1CA-1E94851A22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7A47D87-7264-4E17-85B2-944C9F976B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B02920B-A1B7-4045-8E0D-E643997660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2E40B0D-B710-4246-A334-0DF8C31E3C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F493D27-0B6D-4B5F-9116-87439E5394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B5FB84E-3B72-49CB-BB01-A695CA461B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C5CCC89-CB17-4A2C-9072-EF121E4BAB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125352B-1297-4ADA-8C40-4DD8544ADC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4D30199-EE51-4D86-9F81-053823200C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05CF154-A3F3-4A26-9B54-43980F1926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C68F2EB-3F3C-41D1-9BBF-0E1DDF2D8D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1915AD5-8E93-4E79-B505-42247AB30D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40CFDEF-A7B0-44AC-A8A3-368EC5C9AB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810898E-2A7B-49E3-A6E3-744A0D89F6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A66485E-061C-4FE2-917D-29A54092E1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E5CD7A8-0319-4E9F-8DFA-E6AFB172F2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43ED73F-D952-4F4E-A561-F7B1D118C0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CCB80B0-69F0-4C93-B35F-9CA954105D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7B487A9-0610-4764-9599-41E2B424BF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9F1AA5A-F11E-4AF4-8D88-C61E4408E6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5FB8F56-6D3E-4F15-A04E-504C79CCE0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AB6C80F-6CC4-4BA7-9E7D-FD18204849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CA1533E-E19E-4F16-B6ED-756693BA7A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54B18B9-B6AC-40BD-A294-4126BAE456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76F66F1-4171-4E6C-9847-646DBF73D1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497CD34-1AA4-4F8B-BCBF-E2F414B245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269404E-D6B4-4CF4-BEB9-46526511E8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F8CE659-CDBB-4CE9-B90C-71DC3EB2C6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CBE6D0C-7ED6-406B-B21A-AA625682B5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467CAB0-B337-4727-8AE0-F4E707B7F5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52E5939-2868-45FD-963E-ECDD9D91A0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CF7740C-4263-45BB-B5B0-951395F83A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3C8F4DF-0F5F-4A74-BA3B-C4FF48FA18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D877968-5307-4D56-9D9A-3570360BA2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2FECE93-E63F-410C-A942-6779078339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2FDBEBA-A3D9-4ADF-BFB8-74CF9534A6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7B20953-3CFF-43BB-9649-4653DE4398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67EE968-7E6B-4FE7-8533-9A19D292D7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3546023-B944-4FC9-9B3F-6C8388A798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355E0B6-8C22-40DF-819C-708AE6ACC1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3A7F22C-DA06-42CE-969B-5B81937559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8CAA68E-3904-4BED-AB8F-82F5FC6E58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A104D92-6F72-4D3C-AF92-1319ABE0F0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1E8B96A-0FDD-4C04-A1D5-F5E454B6F9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C55203F-2A66-4A6F-9013-2C3E765E36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9AAC757-D56E-42AE-A921-D1619D91B7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64DC70F-E4F7-41DD-8F3D-1A607E5087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B0642E8-81A4-4F1A-8953-42F98F2C94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8C6F01B-15B0-4D57-A33B-97033ABAD8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3072F4C-FA5B-4402-A95F-4717E0FF4A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90CCC22-4F49-44F9-92EF-E93B28CE6E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A31B56B-D4D9-405E-AB5E-7D3C4EF17B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6B6270E-6EEE-4854-80E2-0AF59DEBE4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FF1562F-BB46-4BBC-AF8F-C86E207C9B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7C8CFCE-DDCC-40B4-8737-54A2EA7C7E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731F9C9-2DB3-49FF-B0D1-B81FC49525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5FEB27E-A6AF-49D4-88F3-15AD0421DA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1D0D36D-5BB5-4751-BA98-7CF635DD43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D53C796-CBA6-49FB-BAFA-4BB488A1CA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25F6FE6-27B1-488C-8B9C-C7F079640E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557D202-74FD-4F52-A3DE-466D080CEB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CA3D964-3412-4500-94E6-657056BA7F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4FFC2B4-07FC-482B-8AFC-BD1532D2E4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8170407-F55F-4735-AAEC-14EA6D26D2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E3E7C7B-3998-4833-BF95-75A97A5C75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37D7D32-0086-48AE-9A56-1164026FAE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A94A10A-D5BC-4F62-8C69-AB2575AC60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0952942-A941-407A-A095-7C8EBE291B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188CAEA-48E0-4C81-B5AF-A87D3EDB75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3C19A6A-15B4-4C9E-A7F5-E69F318AF7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EABF20F-F8C1-45FA-80ED-90BA459516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577C1DF-201F-4E25-8882-B7D6A24703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B2E7A7A-EBA7-4E5F-A4AD-7FE70091F4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342A59C-6F30-4FC8-A953-1829B6D4E3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EDC94A0-DEDB-4152-8BF5-960137356E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0D8A6AB-8254-4879-AED1-3C822D1F8C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6D17D37-4C8A-4E0E-8283-8DF2E2E5DE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AD78C7B-E56D-4364-AD71-23E8423388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CD680D6-EA4D-4049-934B-652848B0AA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3F3DFDE-9AA0-44D2-BB24-44EF88AD7C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2D032C4-E23D-442F-9504-1C6FFAF5DA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68A969E-E7CF-4B23-8320-2BDB6C67B6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E5C1CEB-EC9A-47DD-876D-629FD5DD5E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1616517-D9D0-4AB1-89D1-EB3D5639BB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9A0CBEB-175A-4394-A195-7BF0B2EC99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330F7B9-6BC4-45F7-B590-4C6FE45241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2234745-DD93-4309-B6CF-D67B9B5839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077EA4F-A796-464A-80E5-4D8E867494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C1646CF-4A1E-4AC3-9777-ECFB875600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BBF308D-B15F-4A61-9DC0-B8E54B7B95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26DEE74-2DF4-4CD6-85AF-463DB72F4B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57AF25D-9749-49CD-BD85-52FD30D5B7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69B327D-5E70-460E-9B82-A2D93A8BE5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DA78A37-8AF5-4056-8298-447914222C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340F7D6-7432-4F20-8A4B-274B7593C8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BEE43B6-861A-4AAD-8832-10C096BD13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D238975-A094-4CD9-B7CA-D2F4054D06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CEA14DB-D929-4EE6-B0C4-00E83B90A4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2C67DD8-A872-4EBF-8603-4734B522C9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AAA735F-EEF5-4D8D-AE53-39A87EBBCE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6FB4E49-5454-488B-8594-242B90F340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31A8E70-3D4C-4FCB-8855-127CADA800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A6784C6-26E4-4661-B8B7-C57F91B5CB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56CAA1F-8A5E-4712-98C8-ACD31A2375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39195F9-D0FA-49D8-8C62-F9F1B11943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65AC51B-75BF-4A3B-B727-0D1A1049C4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72D4BEF-30E2-473E-8D13-EA4811B973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47A1092-F02D-42CD-AC61-D11699D625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2D39494-CD58-4400-835B-5F976D4D17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C8CECF4-2EE5-4E39-A6CA-11EF7718CE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66A3D55-1C53-43E7-A6F6-C373137896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07E42DB-3524-4FDE-8FC7-5E0CECBC63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CEBAFED-8DC0-4E3D-8965-DC765BAA2C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DE9F795-CF96-4603-A8FE-11D4611EF9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903D999-0520-470D-AC8D-95329904B9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09B0C3E-A90B-4A4B-8D8C-BDF1598FF7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658AE7A-91FC-4B69-AB34-2E723079A7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EA94834-D6E2-4EDB-A220-7CFE6B0C75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90231A0-2304-488B-8045-6BE6BCD911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7B2C76E-127E-4357-8B7B-6A78ADE740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D1AA122-C4A7-4309-BD42-65D1E82DC8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FEB3616-A160-4A84-875E-182A26F5E7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429C1FA-8389-49D6-9792-4C713D12C9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667EA2F-C90F-479E-9A43-61A87A63A4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75D7CDA-DF4E-467A-B794-72867825E2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4FDBF20-8E35-4E03-8446-28C91CBE8D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851AA25-6B34-4B9C-8D66-99E681C0DA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E039CC0-3C8D-4753-8CDC-5D484C551E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56A322A-8D69-46FB-A2E5-C01D49375C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BC6CD33-841D-447E-BE49-7B3E7EA5BE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4EEF45E-BFCA-4493-93DF-17C309BDDE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CED27AC-8737-4444-9339-3B2E51D170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146C72C-88A3-4551-8AC7-1C30DECB7E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C90BA65-76DD-47C7-96A6-B7E892D9F0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97AD330-1293-4921-A5DE-3D15E8AF8A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9175852-5253-4B13-9831-1AC99C9535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5F8D71C-DE88-4BE5-B2C0-9C2685DDEB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A841C0A-F86E-4102-B506-833D7C99DB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099138B-526A-4BC9-9ACF-FF68F02376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FC39DAF-1929-4A3A-947F-B152C781D1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D17CD3D-1950-4948-99D0-1591F3C6C2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A12016C-D088-453F-87E8-27FF827ECA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3F87CC8-B190-4C17-85D9-7798001C4C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7FCD5B3-55F9-414B-B5AF-A07A75E825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F7AD5B2-7D39-4BE6-9716-C5DDBBB135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FA6376D-5FBC-4E68-A1D2-E4C2F89A84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47A092A-4FF9-47FF-B8FB-2D75BE02BF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219EB37-08F2-44DE-BF73-DB33438236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47934E8-E755-4AFC-8F76-B1BBD3EDE3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9134F2C-8E4F-477D-8560-2BE796883C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CC7F638-8822-4531-A9DA-2B80D58963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BC29B9A-5F1A-4DE8-BAC4-48FAE1A93F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38F9C9E-4049-432D-9F5F-4900528165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5FD93F0-99AC-4BD6-B0B4-606538CF76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A4C645C-8ABD-4296-A526-C7D0D8E3C8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C869C88-ADD5-47A3-A549-57CD19406F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EDF0EDE-0B7F-40F2-9D27-781E6FDC56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1980DFC-CA2D-4054-90B9-0462B2558F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4AAF0A2-09A7-43E1-A703-3EEC63C351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98F3574-81E9-471C-9E8B-AE78C70002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C0A034C-C6B0-4E09-9BDB-F9F015B310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8D84E57-C451-4249-88A0-A2EBEB976B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2EE2C1E-102F-4353-B599-41223CD25F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675BA44-5C7F-4299-AE06-65F26F068B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75CAEC3-32E7-4278-9D6A-C73A389C3B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1272B1E-7821-4377-86DC-6D39B1D383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85E6C79-D061-4B35-9FD0-B484A488A6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8D30A60-2BFA-475A-A6DF-67750C1C98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394348A-4DF0-4A34-931E-B97185F9DA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8243288-79DC-46E9-A409-3E8E7F603C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C203EEF-5FFE-4953-A4D4-D6C0AF4D24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5AF109D-2D40-4878-A24D-28F41366F4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DA36205-7F51-4996-85B0-3464FADF2C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B96317A-0285-48AE-B583-E26E2D9A06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57B2513-EFA4-4418-9C94-F9B00AA6AF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FFC3274-C77F-4023-AE34-A0EF05C373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AA4C17C-CE09-46F3-8BA3-BC09204845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ED157F4-A38C-4760-8625-3EC6193F7A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EF18BA6-771F-465B-AB0B-2BDA1004C8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B29E52D-FE74-4D69-837D-1FBA3D661E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DE499D1-C70A-4076-9AE6-402EF11D52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EE28706-756D-4B17-AC1A-6073DAECB5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0BBCE92-76CA-48AC-93FE-573D993079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DD6E023-9D9C-4448-87F9-7C28177A5B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B6666FF-7C78-49EB-8BE4-B378DE5E3B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260A905-EC1B-4328-AFF4-EBE8C2D642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D3B7AF0-E890-4E31-948D-122964B707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270F30B-7522-48BC-84F1-605F126FBE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DB6A54B-CBCB-4838-9BB8-4FB0956A9D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33C86C9-D38A-488A-B701-8F96E828AE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43E2A8A-5718-4F70-A433-9B8199E846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B321AAF-B3E7-4560-9BC5-92D9DF87E2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43CA548-097D-4D76-8B3C-D011F6B9CB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809FDE4-1AF6-4E7A-8309-8AF7AB3BC2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01833F6-6857-403D-94E7-F118617DBE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4AE9045-122F-40BD-B0F3-DAE2E42D0B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B939B5E-DBF7-4854-B0B2-0F85E3EEC5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C59501B-6113-4CD6-93EB-B75013D951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A964A3B-6837-4B75-967B-E93BA9A1DD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F5EF2D1-8080-4907-88D7-46258CE8F8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E9C1437-C31C-42F0-978C-FE7091FEEE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C05F00E-332A-44A4-AE0F-6A743A8705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4A3247E-30FA-4506-82F5-85730F820B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5E16440-02FC-433F-9E28-627936A3F3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6D2DCAA-EF8E-4B65-AE7F-BB9C4ACE7F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8534223-9F92-4190-8A1C-7DD158CEE1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7AB6228-C3E1-4B26-8BC2-0297B2F56E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2EC4360-4402-49D6-A014-3006364900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F8A54FA-1A0F-4264-B86B-587991DD12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B509418-AA31-4C7F-B2F7-F765AB8D20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075220A-3F58-4889-AF03-2BA521010F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51252D4-4A53-4E9F-84D3-719EF7AC7D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AC2471B-1E69-4AB7-B65D-EC73242585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F7B38BF-438E-483D-9530-3EA07702B7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015498D-79D1-4DAA-ACCC-D65B84679F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9AA9AEC-2F9C-4E6B-9256-7D006D246E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6E2EF3D-41E7-4DCB-AA5D-01076979EA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EFC92D7-3025-4164-8187-00D0FEFFC2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E8F44F8-979B-428C-B2EF-3C35B949E2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0388C10-FFFC-41BA-8905-497D1DE8AB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76C65A7-0E75-418B-BF52-026C9D5BD9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9BD9C7E-BF15-4743-8388-5ECB4A277C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2E356DE-ECA6-4971-9C64-4832B2E488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35060DD-3735-42F9-8375-0D2CD20AD6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AAC6C3E-AB37-4AAB-95A2-9E28F0A34E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F764FD3-9A2C-413D-8D34-A053FCE523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1DE315E-7A17-44A6-92C4-44985A991B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FD901E4-7D95-43A0-A5F6-7DB7244E11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AC55A2C-2140-4F15-9B35-F8981D9A70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F7623C0-8DBA-46A7-AE3C-FB84246053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A4BF74D-44E8-42C6-920D-F2A0DA1199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5901707-2836-4F7A-A7D6-9DFD66A80E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20C5666-C3A9-43E6-93AF-1B76AE8D89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BE773DD-8F0E-47AB-9272-F925CC7686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BE1BBA8-4C9A-43B1-BDF7-95D88D154D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67591FD-21A6-4246-9C58-C7877C50AB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BF8EFE2-7ACD-43D9-9791-0F3EC3DFF9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0F9A4AD-A25C-40D8-B74C-434A444EF8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8A77C2F-82D7-48A3-B1B7-4A3750CFC4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E50D14D-67D6-4E33-AE47-C3DC01EF7D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F198F92-8141-40E8-925B-FDC5DEC38D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01EB95B-93E0-43D3-9BD5-544249DF2B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EF05CB7-152E-4A83-8456-BFDB9254A4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5D0EF92-06B8-41A0-98ED-FD01622AF8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FA7D61E-5050-4C21-AA76-7B722A0259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0D30276-D52A-4502-953E-C278925B6D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C7387DD-549D-43E5-AC1D-68E6EEC3C4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AC46DE6-7A51-4C36-936E-C3BD25A4BD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0AD968C-2B97-4563-9D27-4373D80A1D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31F8972-7B6A-4256-AAEF-E023E83D35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AA2175B-913A-456B-B368-6F93383B26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78FC0F3-1F59-4A91-BCE7-89DF6E0F45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306399C-45F9-4E1D-86A1-B06438A5FC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B69A001-FD55-447E-8328-2CD62371BF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087E234-98ED-45CE-B036-7683AC74D4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021C975-3FDF-4243-B33D-615D3CB5F4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B03796D-FC49-4FB2-B773-FE5B8C6C97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2A38235-316C-451D-906F-9C946FBA7F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6D1BDC3-C662-4311-84AF-7A930182E1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8F29C0B-851F-4353-A1EC-3A1F3B6D03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C2E7568-6D3A-4067-97B3-25CBF7208F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1A73DE9-70BE-46E8-B656-745FF77299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1585928-43F9-418E-94B1-4045A39F7F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62C1DAC-BD99-42A7-8496-68363DAC76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F6BDAF9-6832-41E8-B924-247580902B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D7D3EE3-10D0-4273-817E-665703BE15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961F34D-7A1A-40FF-A757-ADC9CDEEB3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8313DFD-FA5D-4404-9032-A2AEABF867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3942BFA-EDF5-4F83-B7E4-B274E48255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AB7D377-AA6D-4512-BC90-C52D185E8A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7E1A713-7A21-41F1-B127-76E7147F86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4618CC3-9BBD-44D2-8AE1-879ABAFAFF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15C2E09-9BE5-4E7B-80F8-D410786771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1FC26E8-1338-462E-AB57-06B450DE09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74FD97C-7143-4AE8-9695-DF0F95FF3A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BE85102-22E8-48D7-B528-A05925DD35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392B9A0-30A7-46BD-8DEE-57E15B21A0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186CF42-14F4-4D24-A74A-B921E77D0E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41954F8-550F-4A72-94F3-F7712A7DC4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3C106C1-D356-4EE1-808C-81F1854B76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67878E3-B678-4809-AF82-07957F1252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4CCD2FB-48B3-44A4-ABA0-441D289F0B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2904390-C960-431A-B8D5-60DE8A3331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40F10F1-47EB-45B3-A8FA-69DA980B74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1D7FCE8-F96F-4D3E-8E3F-3F374CBF42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AF8360D-A824-4597-9115-57B107C8CE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C9D879B-BD8D-4926-AF15-97070675C4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E9458B7-73F9-41A9-9AD0-7B334C6EF6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407D373-F41C-4998-8B85-822CB9477C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07E1333-7A1D-4BCF-80F7-8560DA551F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93D93D6-0DED-42E4-8E0E-CB5D83F3A8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9917E6B-64B1-4EF0-8A7C-F922CEF8B7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3FB35F2-EF91-4388-89B4-BE2767B51A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E9CF351-B520-4D2A-A239-A6E25D50B1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88BECE1-B387-4831-AEAC-9107078205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971018F-7C99-4370-BEA5-C5804D45E0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010714F-D497-47DC-BD58-F7398DE4ED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EAB7CE9-F077-430B-8342-0871E6708E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E37DF07-630D-4001-986A-B90CBBE012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5CB585A-2D64-4842-843F-55CE0075D3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115F76B-1A94-42D4-9E9B-A2DFF8A9AA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07491C2-0167-415D-BB0A-7A8C1A11FB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68D072E-82B7-41A4-AA5E-33885960E4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93911EF-D17D-4AC4-AF6B-DC5068C024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54CA4D0-88D2-4BEE-AFAA-39F117C6A4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25D1F52-EA4B-4D33-BC3F-6332911E97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3B739E7-9555-4E95-A5FD-1C173951DE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B270A64-B3A0-44BB-A18C-6A0C685C33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9DD2F4D-BBC0-406D-8207-231A104B56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FC3B36A-7F3B-4005-9697-9AB9323E30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D2E7725-35A5-4854-82BD-6506A1981B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E00B678-385C-41DB-BF9C-B549895FE4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741027C-CD05-4F2E-81DD-6DE8D3973F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AC47971-232B-4BD4-8EEC-12D48FD2D4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C74009C-3F6E-460F-881E-3DDD7979C6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CB22893-100B-43C5-8D5E-49B43117CB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8B7EECD-2094-4DF9-A77D-63F987A858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530F87B-55DB-4A4A-805F-77AB02F741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5FCF5D2-7242-4374-B6D5-8738A0AE2E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4C31029-06D1-4F8F-8209-29EE1AC3D0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C3E91B4-F03D-4CC5-BF1D-20DD7E5901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63D517F-D6CA-4201-9DD6-A32A9E9636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35633BA-E0D0-4437-B08A-49A3EF56E1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D4BAFD8-2511-46B3-9044-75E1441005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8D1AADA-BF33-47A2-996D-FC34707151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490AC46-0FE9-4001-A71F-1AC0C95D00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E8D0665-B7FF-4A92-BFF8-2C765E2F1C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6BFD3D4-9A8B-4C3D-A9CE-5CC28ECCEE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E9E3D20-5AA0-4F3F-AAFB-61C32BB243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2CF032B-5B11-4BFD-809F-34E1D8C10A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D8B0866-276B-41EE-871A-2E4ABE835F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7022F44-3919-47A0-BCB0-48003EA125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7B3ABA9-4185-4C22-87AE-503506AA8E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26FC2B8-05A7-40EB-8A8E-1D2118BFA6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62CE89C-E984-4A79-AC8D-E2F97F426C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6B56661-C7D0-466A-85AA-402A8D542E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646ECB6-4897-4E1B-8994-FC4A9F5A4A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49EDEB6-EADB-4080-B9AB-966EE5EFB6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CD8C1E7-140B-4726-912F-8AC0A5CEE1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006F907-E742-4DC7-869C-C4D6B30FFA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79E9C98-76CE-4F70-A0F7-E46C068B40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1054C4B-5DBA-4875-BA77-F82D9441AA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7D8685F-5374-4809-B0E9-3631028134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DA48591-6C62-44FB-A9F6-EA803E9A57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8201D83-0157-4ABD-9E03-7C16223164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5624E61-B0BC-4CC4-8EAF-FCC37522B5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3488160-CA6F-44AB-AB4C-6E6D304CD3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DDCA97E-C3FF-44FC-AF33-1FFAE96C10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60A2621-A4E1-4182-9D97-F27A4AEF64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6C12E7F-4E97-4CB2-8269-D0B8C06EC8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81F1BAB-B215-4540-BAB0-0A96FD1D4A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127A2DD-62BF-45DF-96AE-69E41930E2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B6D88DB-FBC0-449A-AA7B-C18ACCFFF4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032BB66-2F7A-416D-A963-A7723DB456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F19F45A-67C6-4394-ADD8-363D124E24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AA5C595-6945-4408-AE5D-11D8B3F4AB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0F25067-A17C-47CF-B6E3-6BB42F154C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AB57431-A85A-443F-A7AF-DD8E5D4943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5C733CA-F4AA-4BA2-B2D9-F348D84063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6400C43-9CA4-4276-BF26-469984D271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6470BBE-0F96-4194-BB6F-627AA65C73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451F83A-5164-4B4A-A261-76D0B5FA0E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7090449-A79E-466E-AFE1-21EFD3666D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864396A-45E9-47BB-934F-3451B4485F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5D24FC3-A844-41B4-A0F4-890895F936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E98581C-B563-4A64-BE99-DD2EAA4727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03D3C2D-A342-456C-9F4B-85DE8E585A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66BF314-CB1A-4903-B3D9-FF99D2614C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D2C96B1-701B-4AB9-9757-23D3891B9C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EF9C0C6-E9F7-4856-B0E0-273A9C2B7C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7CC35E6-E479-4797-8A00-331A5E25E9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DF861F1-4933-46E2-AC17-D6E29706E1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5934C65-9AED-41D3-AB9C-F2F4D8172F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CF667BB-4368-42F3-B819-24FD9C4E3A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DDC45E8-2F04-475D-8E87-D7B186F3DF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A9F3810-7101-465D-9372-7B3E907C3C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02597E6-164C-411B-B3A2-7399591B4E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B486103-3BD7-4BC5-A154-3F5C0BCF39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6686C05-B395-4551-95E9-5A526E086C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2BEC74E-F89E-45C6-86AC-5518C143F8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DF01BC4-D9C6-436F-ACC8-078F647A20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A9851F4-62CB-4E9D-B9D3-53E012C239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6C0439C-C151-42F7-849B-DCCF9FC227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4A8AC85-F17F-4C7D-94D1-890A11F427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211531F-7DB5-45B1-A598-F97772B169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B65C9C0-FF99-4472-9A63-BA0DAA3AFC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C0AE761-766C-48B4-8CAF-603B71A97F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4389615-0380-447A-82C7-6758199DE0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41C9D1E-9DF7-4E6D-88E5-8B22C90ECF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CE5FC2C-49AD-4AD5-B504-26DADF5D78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39B5088-8A6C-4A77-B97A-8058A472C0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5AEE7D1-95E8-4626-A1E1-46ECB5C4C9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73334BB-25C5-474B-8966-53E7A19ED7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EED23FB-37FB-4A7F-8588-A376BD1F08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FB181CE-021E-4BB3-A98E-F54F8EC8B2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FA7F872-D6D7-4CE3-9E9A-20CDE73103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1D5D4C8-92F9-4F9C-909E-B66845150E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FA81C76-E590-4975-B4DB-862031D37D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205E898-8680-43FC-9187-85D6E42193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DF04471-63BD-4F94-A731-C785DCC878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EB73EB7-4718-4E33-AD9A-678DA3F01D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7CA3F85-FAFC-4CE5-A9F4-39A36846FC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2007377-F5A0-4760-8312-39191DFCDC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24BC506-A113-494C-BB91-3986382906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BD894F9-B84C-43ED-8CC0-A4F5B843EB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C0C6267-DE00-44EC-9C2A-23421949C1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67CFF50-4DD2-4EE3-9370-6BECD5FBFA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41962FE-5C2B-441A-8377-C23E8F6D94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5597DA1-C893-496B-94D5-D40E891ABB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EEC9588-F30E-40ED-96C9-A7F79444E8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186D9ED-5EE4-448F-A904-3F21A72B7A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00CBE1E-4D85-416F-BB0B-ADA612AC6D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A5C75D5-611E-417A-B72E-EB939680D0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9DC4F22-9FFD-4EAB-9DCF-34120DDBB0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9BDE9EB-88DA-440E-955B-1501019B16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BABA428-8E3B-49E7-8227-EAB6BB54E1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5C1D586-5F06-46CE-AFF7-CB63156F42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6969901-0062-46CC-8739-1105D49967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FA34302-3FDC-4031-841D-C611D90BC7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AC1D1A0-058C-4284-9288-7F5443D054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0180E11-91A8-4BCA-8F4E-25601905D5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D91ADA6-8E04-476C-AF5D-8B038AAB34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DDF0BD2-D792-452E-AD3E-BDC92D02E1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60AB183-3A3C-4F1C-BA08-D4BBA867AA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C2211DE-B534-4314-A06D-1A83C3BDB8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6AE7855-48B9-4E20-8B52-525EEBEEBD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65E5966-B892-4054-BDAE-C24ADE457A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134392C-5B43-4481-9F0C-E4FB9E41E5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9EDACC0-6616-4AAC-89D7-780169ED9D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01D7487-C6E8-4CF9-A5D0-A2F7119661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9056672-DE27-4E5D-8B31-684C7E117A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C6B0FD6-0ECB-42E1-8342-E02968098B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31BD02A-DF55-4381-AC66-293DD2EAE4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F2A29B0-D7AA-49AA-BD9D-A591D240AB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4C307A3-4A93-4884-8801-2705CFE6F7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2070449-1675-490E-85BD-8FBA1FEDA3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B5466BB-6852-4169-B0F4-C022B3C2EA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8F70B59-54A8-4865-AA8E-7F5A11FCA4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28C337A-9629-4EF5-9865-5C1BDAB52E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AEDC86B-B304-456A-B266-153E863818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4537E36-DE71-46A0-927D-F1483B39C2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2AC90E8-19F9-4F0B-AFD2-2D27E3F444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E287630-C1CB-4516-93C8-639C3BA6D9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EC5DFD8-F186-42D5-A8E6-DAB4B03695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6725EE9-264A-470E-8CF1-F4B6EEC146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25B20BD-13E9-4F8C-964B-94C3B439DD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C28A247-A89D-4BFE-8ADD-E2587798E6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42EB7E7-4DCC-4A13-A9D0-941CDC6B98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9AFA8D1-61B2-4F9D-B9A1-90DB51E094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8E84A2A-B86B-4BFD-9405-7C351B26A1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4C84359-D815-43AA-836C-3D267D2B80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ECFE21C-4E6D-4BDF-B1A3-C01E9081C6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B9C6ED7-5674-4C35-902F-96655504FC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8D7F3F0-E96C-48E6-9368-F0C690B563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1BA6F1A-FBA7-409E-9759-708E13DAE3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6A1B55E-5D51-4319-84A6-7D28B6177D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B8F4C0D-C9D9-4157-BEEE-C45AB5F19F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DA51AB5-20B0-4EA9-A46B-7EDA62B2EA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C749D50-5042-4C0F-8B5F-8C774516F5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73CF08F-3081-4FD6-A504-9645976CFF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8DC3A1C-A92B-4941-B066-6DD760B915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06797B0-4CF9-4A25-9F03-8F2195F71D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C315D24-9051-4B0E-A29A-88D2A27790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7D7E0CC-8210-4047-9FE2-48E1DB06FA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9E35A35-DD5B-468A-A63D-5DFFD4A727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07450D2-1669-46EF-B46A-D02361CEC7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19376A3-B786-46AB-969F-1AAEB9E60F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FCD6DAA-695D-427E-94E1-EF0558E9CB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12B0731-A26B-4F77-A5BC-E415395F78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4FEFE40-15FB-45B9-9534-7E808A445D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ED105A7-077C-4A59-841D-079C21CB1E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076A863-6775-4156-930F-E23468946E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317CE94-E21F-4D7F-B076-35EA31BB65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F256964-A0E2-4AEA-A42C-7A40D4DDAE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B8F902C-E1E4-406C-9A70-26BABED194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9D0B291-7EC0-4861-AB02-7C91EFC510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D6A8F31-2E3F-4949-97C0-042B0B1F78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798F007-ED45-4022-B94A-22C208FBBD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91D2836-A4DD-4340-8D4E-8233FEEB90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600B61F-BCCF-498F-8304-FDA1516A04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C1A7E21-44A3-4BF3-AEDC-4D8BBDFB9D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FC1B8F9-B9C7-4B78-AE55-B238A6C6EA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5140A44-F6C6-4DEA-BDE8-0DC3DED71F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CA15D84-35A3-42C5-8EFB-AEE455CD72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E08D333-9A3D-42E5-8483-16204F5D72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676BBA9-10DF-41E5-A0C2-A9B5C1CE71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CFAFD87-ECDE-4693-BC64-CB2821C0D2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376AA24-D423-4112-AB4B-835B9214F7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90D9095-D2B8-4FA3-BE56-8E07925C9A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45B50F9-A4AF-46BB-89D0-B9FC4117C0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C66F1FE-22CA-4A45-B05B-F148A5F705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C44B8AD-7D4B-4C33-9384-652B85091E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07EB91C-8AB5-4650-A903-9E5C924B5F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2BDE72D-DF2B-4CD9-9CE6-F654FBF80E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967A9B0-D999-40D2-9FFD-B3C4F36742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2B6A1C9-711B-41F9-BD04-25AE8F44D2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763CEFC-CB44-4EE4-847F-6BB36EDBAD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4905982-9DF0-4B60-883E-BFCD84A697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B311278-0D84-4F6F-81E0-1AC5F4002D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2ACDCC8-80A1-4FF5-8272-8C248E68F3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33DB140-AA4D-4F19-9810-FEB868FD4F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9843EB9-9915-41F0-B349-D8E507FAA2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4408B35-0DA6-421D-BC13-0C1E9A7AF3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E44B781-3191-4174-86DD-363202620E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AD9902E-48B2-48E8-B898-EF38642792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BBFF50A-AC67-4B04-B119-470BADC8E4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55AA212-08D4-4783-B1F4-6808CC163C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3864FE9-B999-45C5-AB81-2CA8CC0973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B4F344E-CA6F-40A3-8BD2-DB66DA6CAE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D57379C-4325-4D49-97C6-B00FA9DD84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ADD1C71-3D6A-4669-A1CE-AEBC177506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84AF0C9-4FB9-4452-84FE-37FDFCBC74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D6D04E8-37C3-4031-B2C0-1484A3E7FE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A312F9A-0D23-4499-9E0F-DAED8B6490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A828AC9-499A-491C-B1A4-BE5F7901A4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10CAF6C-363B-42D0-A76F-54474EC9F9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36927AE-CFB2-4353-9E0A-C3ED6733AF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58C5DD9-F42F-42FA-89D8-3ED707CE26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CF70498-48D0-4CDE-B9D7-982E225E8B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B18B2A3-B11C-4154-9466-C36A2045A8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DD8F440-001D-44FF-AEDA-7D03DAC413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5E204B6-9BDF-48B5-9928-E71C7D2DF1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59A5951-AA21-48B9-9DEE-69A31A14CD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4029F85-49EA-48D0-A791-A4ACECB23E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DA28CE6-90F0-43FC-A268-FC34A2CC3B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39C39B3-F112-4BC2-803E-8141B7AB88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BDABFE8-3A58-4518-842A-6625636703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F9EAF82-AE8F-4205-9AF4-01CA99BFA0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BCFB6C7-7CFC-4402-8CED-874FE5E110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26E4C65-8D9E-4B88-83B8-73183682F5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6A0F0E2-AB76-476F-9289-018A6C6AE3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C58E787-61BD-4D45-A12F-329BF04E71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9E26DCA-457E-4897-A345-81D98ECF77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7AEA540-5F44-4D69-A624-37EA8A8CE4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B07C009-A3AB-4C54-8658-87AE65EBF5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66FB961-BA37-496A-9841-8948D91E97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D58902B-C81F-4453-8AC2-80FB384A74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37C8891-EFFA-4D24-9A9A-C596D25EBA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13767F5-2313-430D-AB0B-6DB17CF33C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25ADF66-42EB-42B8-87EC-28BF023134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B8CCA08-D145-4CCE-9EC5-5F65987B51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96659E4-7E44-4C25-8007-4B96304E75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9349D58-F5FE-4457-A640-22FAB55B34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A037B52-F493-4067-8C2D-36A9E5935A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1DE3C93-3359-4261-A18A-997B28C2A3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9D6D2A5-3638-4941-9837-F03015E5B3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1111CF5-FF56-4B04-A0E0-597144BA49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ABBBFEC-5816-4895-861B-49918C9EDD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2545D4A-7B50-4536-BD3C-B2189A3979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4FE4511-AB86-495E-9A3D-30F0E00A9F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C4607C2-530A-4220-B278-13A0DBADDE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2D63112-74A3-419F-92A9-6DB35ADA9A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CC152E3-EB0D-4DC6-B13A-C7910BD77C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1CAE209-E81F-4666-A83A-0C1FD00336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D451CFA-F7E9-4DE0-9A76-CB73454940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D66F90C-0A45-4BDA-ACA9-B4B2730135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B454D47-02F4-4E0F-AF16-2EE7A71A06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42638DD-41F8-4333-AA9C-46DBABBEE0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8042268-CD1C-46AB-A8F1-B93AEE0BFE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3F601B2-F9C0-4866-B065-7EE459A4B3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8DE899E-4538-475C-9F97-83D6F8D72A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A11134C-24FC-4A08-9031-8834D21477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F7B8390-39B9-44DD-91A6-BA3D5E1F16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16B7860-1EC0-4803-93A5-B3C842D9E1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77BFD2D-48FC-44FE-8A6C-1EE583F167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95BFBB6-44B7-4751-98C5-F65327680D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C5CCF0F-13CE-4F6C-833A-850E41116A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980872B-C4E0-488C-AFB5-0B75017C1D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8C8D380-ED43-48E2-AF07-54002A03F6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23F04AB-0E57-4CC1-B99F-5DC4B5E50F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FD7B2A5-BB0B-410E-98B7-B2768D95E8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1967048-6742-48FB-B76F-E0666FBE0D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2B463CA-C3EB-4C30-B02B-9DCB76E169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1AAC319-81F7-4C61-8045-A55BF345C9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0229A00-3EAF-4C1A-974A-07ECE96F07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965FAB8-45FD-41C5-9B0B-47111992C8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BA487CE-6054-428C-9532-70F3CA3A3F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EF30CBC-66D6-4261-AF1D-B22E1E303A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B915B75-B23D-4A68-8380-F3B4C18D08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89846CE-C678-4C03-AC8B-AB00B654EC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8FF5674-E2EA-457B-BE93-62D39B250E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B20AFC7-0295-4399-9E91-497069D0CC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09D06EC-D80E-4B3A-93B6-53139F539C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7548A2B-789F-4570-AAEE-CB394AA39F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D0BE8EE-FF6E-4B51-A654-96B9963002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A2A2B4B-1F93-4616-BD83-41A8C69767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5574088-7C41-4EE1-B3AD-8B209CD689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7E29EAF-7C43-4BE9-8E46-12476AF73A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D37A43A-BFF3-481C-9497-E8C0EA4237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057DE10-D337-4F60-ABFF-40342A45D6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D2F3EA7-E26B-451C-9DA8-9AD257370C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8C8F04B-8CCD-4FA9-835B-02A4145138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24D2E79-F81D-47EB-B3BA-6BECA3C7BE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5C86F06-DAEC-42BB-AEA0-94C24C2218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BA46D41-BA71-4784-878C-0674EEC1F6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4EE7966-83D9-42AC-BFAC-1B78128673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9F70CF7-3995-4174-8294-2658CF82DC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174ACD5-A449-4343-B1DD-BB2F0BD3B0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0A50527-E59A-4F39-B31F-84295536C3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E311CB2-7E59-4894-B28E-DAEDF51259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B10F9B4-CC1C-42F8-BF41-22044CDA58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D2F1D93-7CD6-41A2-A166-5234EC9AF2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D451316-96FC-4711-85EB-0A37E0E7A4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0E16288-EF87-4C99-81EA-86496920A4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166ED9E-C0E1-41DD-9C60-97B5893A8F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19E52D1-4731-42BE-8774-CDBB9FB54B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C6BF67C-9FF7-4346-8EC2-6A8A7066D8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29365F3-71D6-43DF-B9F6-FEBF758780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BD381C0-ED82-40F4-BF86-4F4B4126F4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DA09CD9-439D-42D4-8051-D388B78485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8ECDD2F-2CC2-4A48-BF01-0D241B4128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8225E10-FEAC-47BA-AF98-0CE5C6EACA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7DD75FF-8C22-4A5D-A9CC-F06BFF6CB4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EAB3B07-72B0-4135-8BEB-2F6613CEC9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C043A50-7D7D-4EF2-95F3-ECA35F4789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A0CEB25-9EFF-4AE7-8265-63D1A95C66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1A60557-6CEE-4FC2-BE50-028DEBE4D2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FAD0587-7785-4109-8C69-E8E7671D02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8C92539-76BF-4723-85A3-627393E7B1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79D55CB-D1E0-4035-871F-D80112766D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0DC8957-CF71-4498-9CFC-7DDB5A2C64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A4FB75E-ED71-4A32-A05C-953F99E637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6C2678C-4382-44D0-B730-0C29AD15EB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664A2DB-F2F2-409D-82EE-F8671B3494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98F3E2F-40C8-4116-B66E-9AE2C7A7C5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5DB975B-99DE-40A8-9688-8071500BE1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3802807-1B10-4E91-BFF8-A2BB738329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80D285D-2556-48CB-AA95-6892A7AF4F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F80717D-C3C1-40B1-BFB7-74B2009C41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58367DD-C6FA-4ADB-BDDB-95172F85E6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3280C66-41BB-47F0-B568-BFAEDF9629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E1B0942-B667-4C01-8D6F-C92911AE95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7AF22F6-5C2E-40AF-AF88-1D5C3BEB24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320D5B9-AF95-4C47-A6FB-D055CEE251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04F467A-341B-4330-954C-C909D41D45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40AEF4B-95C3-48BE-9822-A2C63B35F1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C2B7A60-2DE6-4BAD-B57F-1D8F26CD60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A61B8FB-87ED-4423-A922-6DDF0EF54B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7B4F615-BB25-4423-8F18-4F0756C5BC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265F92C-9333-4522-885C-C974CF7ED8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4EDE95D-C128-4CE8-8490-A5B246282F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CB35B31-1326-4F5E-8FC9-1B05168CED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2868721-7F87-48D5-B506-1D1294F450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D1C282A-1457-4D15-886E-4D5C785545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6199E68-2B30-4583-887B-2FDB00799C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0B09906-EA31-4624-B059-84719CE89B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6CC7009-4BFC-4941-A2D3-9FE6ECE9E0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9B096B3-6C3D-4A0B-BE63-2D74B69281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D6D67B8-6459-4136-8F0B-4D26DCB99E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B1A1FDD-8A55-49D4-A76D-6C048F2FB5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753803B-2384-4D1E-AAF2-DFE79736FF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5AF7FD4-9A9E-4EE6-97BC-4BBF595B1F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E5119AA-3A84-4584-B120-305FA876D4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F22FD93-57DB-4368-9DFF-5ADAF11667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BC6265D-7278-405C-96C9-9263F27669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8E2FE5A-A823-4EC3-AE71-545CF06B63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0C5BC0B-668C-49FC-87C7-B44152AB65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43B52E5-86BA-45D7-82F3-3401A159F2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8FCA993-D3C0-41A7-982D-FB23D9DDF1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1CB1CAD-D0C8-44BA-8F84-2696FC4914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8EC674E-DF88-46FF-95C4-8DBCD5E4D5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204560C-21AB-449F-926E-D56BFC99C9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4F651BD-12B6-4F9A-95F5-C40A942EA6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F86409C-64D8-4030-8D03-5C765EEAEF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C039B10-F9DF-40F0-86C1-B3547AEB35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C16DB91-6476-4446-BB48-B49CC56BEC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118EA8F-7164-47FA-9290-64F6A1907E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43FC0D8-8536-453A-91B4-A67807FF23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F217537-0A19-4C6F-BF79-746DB05F1D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99C14BC-9513-4A83-B42D-FB15BCB446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2F36E4E-96A1-443B-BAFD-4691CF229F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195F6A8-A275-4FD0-9A7A-94A8512E47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91A993B-581A-4306-B500-FD095ED8CD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48ED46B-01A3-49F4-84DA-F00FD69D88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F1298E7-4AD5-4BB0-90D7-E1D1278325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FDDAB5A-583B-4036-A451-97472FC63A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BDDEABD-86C2-46D8-A28E-A0E628C1B4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A5949A7-563B-41B7-A6DA-F1AC35CD7B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35D998B-4733-4400-A29C-E4C86682B4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9F994DD-D2F6-4443-B5B6-8DFF02B8C2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26AC62D-DC23-409D-8A3B-B57021247A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094659C-DDC6-4336-B94D-4BFCB36963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34AB9FD-1DCC-4A60-AE24-E8558716C1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AAECA31-7D5C-4710-AED7-4B97B72373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1080E0F-4F67-4605-9546-4BDB500A54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362147E-2E20-4EA5-BCEB-B76A16AB1C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9CB4719-F67F-4BBF-AFA8-2F408967A8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77DAE4B-DF49-4CF1-85F2-2B0370D45A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3B0411F-9FA8-4BFA-A07D-61CEA37C07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11083E9-FCA1-432E-86A2-4E48D7F1EF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C8D2300-4977-4BBE-B991-2D78D3D254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8C93E38-2CD5-477D-AED2-642D247F35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3086C21-9E1A-406A-9B3C-8014C48D6B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8774EA1-E4F1-4687-B547-993563494F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FD7AF28-5A5A-45F9-A8AD-80C368B01C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8BFE869-0F65-4F74-86A1-2AA8391D8F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040C882-DC28-40A6-A64B-4DDF2639C0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E3D3B70-0C27-4F60-B50E-095FC2ED02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CB71BFA-307B-4309-B694-2C92EEAC5F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519C7B3-A852-43F2-AF54-2A29A362B7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638F013-BD24-4448-BC0C-2DCD2CD19E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52AE795-C9BA-4E65-9D85-3C45214412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81F121A-B519-4551-A6BD-CA013BB6F6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D58E2C0-E453-48F1-BCF4-6A9D61F794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13DBC99-98BA-4C3A-B891-29C55566D5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6367CD7-FDD5-46A1-AE1E-ABA598957F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8D7F3BF-9006-488E-B520-69384DD134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19DB3E1-68FC-4E7C-A450-145BC867D3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B483420-1CF7-4DE7-B9FC-30049F063B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BADB35B-207F-4E9B-908B-E2C791B599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13ACDE1-D4A3-45D9-B789-AA6B599CED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3FE6179-1D81-4AAD-82EA-853AC3F360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C519769-2051-4FC1-A77B-3C60C4261D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ECFA89C-CBAC-4501-9838-B7585C60F8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DBB3A2A-01B9-4E1B-A015-7FF44E0165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55B293D-9BE3-4170-B70C-A059D44292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7E0122C-232A-427D-87AD-B77DC41517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245ED9C-3818-40C3-B358-8DAB06341B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1AED1DF-F312-4048-A8F9-3905D623D8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631476F-66DB-4668-AF2F-A7A90C4820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4E8782E-2AA1-4066-81E2-ECE98C1507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E791C6C-3564-4DD9-9A81-5C3A285B71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62F447D-9C03-4C8C-A41B-3507E5A40E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DFC6D32-D8A0-4F20-83F4-7313CACE91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A6BF202-C476-4155-A2DA-A707A0458C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E8D4E2B-477C-4DFB-9085-D60BCDE16A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81FE71A-8CB9-419F-9A3D-134817FB49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879F019-5E4D-4B02-A068-B3E815A908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76F7D16-5F8E-48DE-B116-E2E50C59C7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02A1367-C1D3-43A6-8F94-8660F074DD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63FB10E-91FA-4135-8A9C-41C4A36DF2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279A407-5A01-4524-ADA8-04C55AD25F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C2DA66B-B922-4E1D-AFD1-2333CF49CB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BE20D7C-88C2-4B8D-9A79-C709EA77C7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9225579-4964-49C7-A8F3-C5730FD551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FDE28F5-46A5-4146-B9E4-9746F32448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C67DF53-7E16-4036-8CE6-587F34CF94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1E0C8BA-80CC-4EDE-A147-FC5637A20E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4639669-D448-4572-946E-2B1E9B828F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25DF44C-2EA8-4213-950A-232AFA2633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BB37B31-2D21-4BA4-BC27-FA572AC256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04ADD34-69E9-4FD8-9111-0D832E8BA5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BDDD1D1-5F46-4735-98E0-C7FD284CF3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3A7E83C-6984-4083-8A16-A50AC52640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17DCA3C-F6E0-4930-A325-90AD33601A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A6C8B6F-7679-4AE0-84E8-D386E66F13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0CA0774-EC7F-4F7F-A514-3720043A8C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F326A66-5E3E-46E2-940D-3E85AF8168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1497BF6-F0A9-427F-8268-964CDF7EA2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7FBE0AF-8B9C-4B0A-B4FA-0B23CFD067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5AE9CCD-1290-45D9-A68D-4B4DE20CEF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4B0C973-45C8-4E78-B676-A2C5BC2BCB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07F6A95-F74F-4118-BDE2-1F923D66D3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78FCE38-C2EE-4558-9194-ED44135518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0521C16-72CF-4859-95EA-02EA4CC818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818E2CB-644C-4076-877C-3A32F77B6C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A776C0D-20AB-4468-900A-4DC0219D39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5D04165-1C59-45CF-A214-EE08BBFBD6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243F558-DBCA-4C35-B32A-B5856F453E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AEA2357-D3C1-446A-8A57-41C9979E95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9CD8CF6-93E3-4D34-913F-FE226D0DCE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D05ACCB-655F-43AC-8DB1-120F6F3352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5074A73-0202-4F26-81FB-C4E472DAD7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C40B44B-01E4-4DF0-9D66-915DF11C28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2215EDE-CD57-4D6B-840D-42907C1BFC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ED7E36D-59B9-4A85-874E-35B4509972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C3664FE-0618-4FA8-A374-AED76C7D7E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D62C08C-763B-4A64-8245-CC21A3C049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D9329A3-9102-436D-A277-AF59868129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62CB43D-A096-4F77-A784-D8A274D4D9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5D081D2-FD2A-4A01-91A8-2CF48E70CC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B512481-A44B-4F52-A781-DCCCAA741F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D759446-2275-4DAE-BCC7-59E0AA0460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3FF14FF-07BE-4F01-8422-778844EED5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FFB31BA-C778-4959-B6E2-878BEC0C9D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3A7DD00-2F5E-41C0-A8C8-583FB2DC44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CC154F8-B8EA-4D60-B6AF-B2AB4578E4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8A3F268-EBD6-4EBB-ABF6-69CAE3EC0A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255BF05-46F5-456B-A773-6A2138D782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436AA86-2075-47E2-ABEA-63EB57C882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50B4B0C-386E-4D8A-AFA7-B78AC52DE6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383BE2A-683A-4CBE-900F-9AF337072A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BB53F6D-4226-4886-B9F6-03FB3F6E74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56277E8-869C-4CBB-AB7B-C87025342D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92CE055-EBAE-414C-B5C4-F0857C1894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81F60F2-61DF-409F-BD70-5580679422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0F949C9-E5B1-484E-A272-5968883D6A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09D95E7-C551-4AF4-A0CD-52159B755A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E01DB2B-57E8-46BE-9AEB-6FCB8D020B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22FA10A-4783-4526-A8B4-DCB6B2DB43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68C0A7E-5F14-40BD-94B8-41D8A47DC4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2078B80-0593-4712-B2BB-81AC992CCC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61435ED-30D8-4726-B5D6-AFEC5C347F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1DFD3E2-205F-4D07-BE05-948BD813FB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4F98B8F-F327-45EA-83F3-5DD9DD92FB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0432487-8CE4-4804-87DB-8F71FDB34B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7FAFD08-760E-41C1-959B-FBF58F4151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AE98398-4C25-4C36-A1B9-6BBC90C705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14F5798-2F1C-4C7E-8AA7-88B9C83A70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096AFA6-ED27-4CAE-9702-A51ED448D9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3BFF790-7B58-46AF-A47E-E6A33E944B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99FF891-23C6-4B21-9E2E-A00D21ED36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59B5271-77FB-4B68-AE8F-EFC6839041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E2D1235-96E6-4477-BA6E-1297832176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FA099C5-1B73-44B7-AD80-40DBB0D766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7313219-D162-4662-8C87-AA571441DB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A1B7F6F-2FFF-463D-B0D3-0703C90B56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6009E97-ABD8-475E-8475-9C36A4BC7F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3116CE9-49C3-4A7C-A358-6D79EF3187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E0544D5-AC60-4DAA-9707-6ECD528F61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B4DDCF9-D284-46D6-830D-C3F2F5C291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2D55F32-016E-499F-81AD-7BAC9668E5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007F562-08B0-41D3-B0C5-DEAB4C18C9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4E99673-B636-40D7-8977-BAF0D7B3C5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7315981-9352-4F04-A73C-7E3565B6FE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2CCACCA-FF04-410B-984B-84A7D2C8A4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BAF5F5B-FD9D-41B2-A3A4-B9CDC9CCAA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7082F91-4B1B-4BE5-8027-0B787BD77B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81D717E-EFE9-4BFA-A21E-24A8C8C9FD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FE47201-3453-4156-931D-10C433DD60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4FC1D6E-78B1-41D2-9916-7F72BA105E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FAF5047-E3C1-48AB-A8F5-0531C32675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85E9EDC-B525-48BC-A950-6812BA4A2F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8E12C1E-E700-4476-88BE-274A9F6C32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0760713-6D70-46CC-811B-DA1FACB64E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24FE7D1-A441-4012-8110-410298D0DA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B62AE39-5748-4998-8480-A53C4117CB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8AA0EA8-B06A-46B6-A805-3E73EED1C3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C63A8D0-82E8-4619-A428-B7D4E64B58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B6C8F56-EE36-4DA4-8AB1-195B126FC4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8566D59-EF5B-43A2-A093-D3A32C8DEA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792C854-0945-4E53-BB5C-A212D7BD2F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7249562-255D-4B48-91E4-0FD207049E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81E25C2-2AC9-4E6E-81A7-CDB55EBE3B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B70F270-E616-44F9-99AE-BB4F1536CB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0998EF8-5A2F-464B-B210-662298FF61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D9788A4-FD87-4134-A445-A5BF9D1756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6CC8B63-D8C0-4E81-A291-69DDC79B4E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82EC328-C375-4D5E-AF34-B58227520A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696F271-BC16-441C-9E0E-8507581364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3035A9B-3F30-4EBE-8FD1-72DBDD9F12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9BA717F-D9A0-4D93-AB48-8217EA407E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904FCA7-FDEF-4EDB-AF20-B6B3098A04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63F3EAE-B2EE-4C89-9119-7F33C18545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9C8C988-8B7D-4D02-A7A9-6FF7928A9D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195271D-8817-410D-A94C-D7701BB4DB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700E05F-AB78-4B45-8A68-1D96CCF84F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C6F9AA8-3CAA-4CB5-B2FD-7D3A618DE5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DCE716E-AD05-4691-826A-C907410B82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6CAB76E-925F-4F22-8511-44339AED58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FEF987B-5746-4D80-BBE0-C86B552E59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79CB075-238D-4023-8EC4-E3DC48E8D0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8CD1F09-0257-4BF0-9A6E-0B27042169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3C2F1A1-1A66-4D4A-80ED-E942175614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B2B936E-8250-4CCD-85B1-33453BA0FD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5D22E87-2757-4B87-BF05-9A1E10020C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6C7102D-6B82-44AE-94B4-FA2B42CF51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6125900-D976-4261-BA5C-BE84B739DC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3A069E1-0210-4437-9120-26A007C282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73CC9A9-9A27-42D8-9864-06A6C3A62E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BBBA31E-69AF-4787-A0D4-3BFE81A679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1E4D84C-B3E5-4B91-B322-38B41CA5B8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EA971F9-0FCC-4F60-849C-F69A9560C5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0CB988C-62C2-4A39-B569-2AE636DD01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C2A7E38-F60D-4B60-A2F5-17E4BF5DC5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8A66970-6BC7-4EA5-AA04-4163EC6E6B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A19A635-A8A3-4D50-9CBD-E5761E85B3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9C7B072-C866-4E3E-B410-EB676DF660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C5A727B-2B39-459F-8A78-B215288FEB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F12361B-83D8-4502-BBDE-C8572EB5DA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F943266-31B5-4CF3-8C9C-AF23330E42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ED508F2-6EF9-4EE8-B0AA-95928FE511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A6CCCEE-22AD-4A55-8115-D03A01B250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0535E0D-5010-404F-B759-F3318ABB67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65E7058-6871-4CB9-8ADB-52F2793550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12191F3-2CEA-43D3-9D08-A22DC03B51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C301C2D-F053-4418-84B0-13F0D7FBBD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77D5A38-4DA3-4062-AC60-D2DB99143A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B1CDBBC-F03F-41EB-A79C-179CA1F7F1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FE968E0-D505-43A5-8BFE-5F50B894BF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EC55567-9A6F-40E1-850B-1253C22004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4A6E339-8708-42B3-BFAA-6101161157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5DCBA4B-37E7-49B3-A92D-670C67D7A7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800B332-8A8D-4C54-97A4-EF0E6D7702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982CDF1-E628-4EB7-BBDA-AD046B274F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4F13937-88E2-4A59-9D22-CDB90746A4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A7E8753-8954-4E04-BCA2-19DF9B3DE5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48EAE46-1C17-487A-B31C-F9EC985541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4FE6BC6-D3CA-4E44-9DC6-B5122BA048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03DD45E-16AE-4A5E-BBEE-33460A8DEC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43BDDCE-A45D-4996-8E56-0B68E24C29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18DC039-8459-4D04-A7A9-9FB8F5438C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4D97530-68BE-423E-A772-B73B6B6320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8716703-0766-4A35-B2DC-B2AE675977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71F6D67-CA47-40A5-BD48-0DEFBC0BD5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CACC654-E850-47B0-8E0F-E3FABE3E17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D7BA80A-96B2-4082-8418-DFC86A77A3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C631BA8-983B-424E-A075-A15E95C443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A508299-A74F-464B-AD44-B4F47F7C20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A4FE26F-DD80-4060-BDE6-8ED4873CB2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D90A1A4-4548-4E7E-ACC1-7742494CF9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100150D-F905-4C85-A902-7ACDE66333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AB8DD36-C122-46B5-8769-1D7DB5075D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857744D-775C-49AD-8C2B-9D32668DB9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8409B97-2400-47D4-A213-8376DED8D5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7676770-9803-4191-85D9-4BA3D4D00D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21C65DE-E322-4449-8485-F5FF407147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51C6DF0-F8A7-4E05-84FA-96F731A557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47519F3-4220-4B55-935F-9E00C4F216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3C5358C-BB27-4498-BAA2-BD44D97748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420CC3A-6DFD-4708-88A6-4F5198E3D0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44868AA-5BE6-4ECC-B7BB-2D9D054040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60E0A54-E8C9-43C1-AC78-D067EA863D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73A120D-210A-407F-8663-693F3B2C9A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896539D-637D-4417-A8C7-24D42A2B43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53C87E1-3C1F-488F-8588-D8556AD063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3E416F4-3F2D-4593-8CE5-F69F39B801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FB775AC-EDC5-4BFC-98F6-6E540E8C73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BBA7DF5-301F-4625-820A-A40B97374A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B194189-00AD-4352-B6EB-493D554734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4884202-DE50-4831-87B8-F78466C613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507A625-592D-4C23-88E4-314562F731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416184E-CEC6-4590-8E8E-A25CAB4CA4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86404E6-927E-4196-85C1-F1D70050FE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DC69E78-F73B-455F-8E17-02452B9441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960B77F-FECA-4393-BA72-CCEED5B787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ADBBFF9-82C2-4B9C-8519-1BFD6FBF65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371C864-CDA5-4A18-80D7-71D79C69A2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C5D7E6F-BFBE-4639-B25C-91AF788E69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8419DD2-1442-454D-A932-CBE478B979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EC956DF-3156-46FE-AB24-39E4328F06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8C080E8-1FBD-46E9-A202-9FC1FDA75E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8E78EF0-FE46-48DE-8449-5FE06D6DF5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8CAC7BD-7D68-4EA1-AAD7-8BC1FC3C14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BAE3EFD-8559-49C7-B5FF-943AC2C24B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9C77906-19DF-40D6-93C5-AF68233C3D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E37976A-F340-4ECB-9D4C-74DC7F6E78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9D53B69-1547-4A57-B845-D24F7CB76F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7DCFD80-9BB4-4417-A796-2227F00DBF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72526BF-8D40-497A-BFA4-8E63264D73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B7A5170-D3DA-43E0-A96F-AADD3AEDA8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7AB7A47-35C5-443B-8C20-13F46098D9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D925CE3-8B34-4BD6-8BE2-CE4CF175CE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5465D34-C737-42FC-8977-3625209463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4619A61-A8FB-4123-85DD-EDB8E0D2C4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80978F7-EA68-487E-B7DF-DF5EA98DD2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23C654E-CC0F-466A-A4AB-F08B7E87E9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59CFA2E-7E4F-4CCF-94A8-D8F8A656DE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8D8414F-9A02-42CF-A6F0-6B49109D38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35C14F7-A9D6-4CFA-A559-7CF6B3E108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722FEC5-D612-43F8-8B96-A19B29498F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CBF373D-F84A-45F6-B91E-4AECFF4091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DEC199E-4605-4459-AD4E-6C86B7D600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126B416-2023-43F0-972C-D245E0AF20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B56B185-842F-4FEB-9DE4-11A0B2AB8F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628A448-6FD8-4376-8BBF-0A0201ED53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1262DDC-6182-414F-994A-15376EA0DD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65EAAB0-DDD2-4561-87A1-32BD290103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2A44563-9233-4536-8138-84F4D31801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3CA47EB-B4D4-4622-80C8-7042774006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2AE73AC-8129-4649-B64E-9987881975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24D747C-8540-4F2C-A780-E3E49CE738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4CE0A02-09A7-4D84-9EE2-1E2264722F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CAA2D22-04FB-4753-A1DE-5E108AB095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F8E9D38-002A-413E-8FCB-FF442471C1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A55BA6B-B344-4711-BF08-B07D990D64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8C4C8D8-97BD-4F4C-BBD5-469E24856D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AE041F9-1222-4E9F-ADD8-D5AB3D3891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A595E94-5215-425E-B27C-D44E422272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E855FB5-993D-4D27-A42D-A0F0629D91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CD05C65-D0EA-40D3-9026-995778F7F8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7F1DB0E-3A6B-4E4B-8949-75DEEB8639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DC09112-BFC4-4DF8-9827-702F0C17E6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1B8E7FD-9A67-4CE5-8446-248A28D6FB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05CB672-60DB-42E7-B755-479F1FB12F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9B5F6A5-1EE4-4F60-8194-72987ED3B3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328A630-441A-4968-AE37-BB1EB38F3A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89CE0DC-ACB9-429C-BD27-7B4D281924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0F409B3-FC8E-40D9-A824-8490671CCB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7DF1E5D-3775-4F9A-91BB-F9D153CA74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5180D1E-639C-45CE-BC42-B51EAD17F7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B952801-35BB-4360-873F-8C82BFA79F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04C1592-024D-4BB5-A158-DCFDC7EE7A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2CB38ED-85FA-423C-9424-A2DBAEA249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43BB152-0C4C-48CF-9A81-699A65DA5B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50864DE-EBFB-4588-836D-3900981FD8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43D359E-D8D1-4615-9826-A7989EA2F7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62A62BC-451A-44C5-BA3F-18AA6EC06A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4215B83-58D9-4D7C-854D-5AED74592A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B372209-7941-4E8C-8E48-AD574C54AB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FF8517A-BAC6-420F-99CA-C3E9E6A453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30475F6-18AE-4204-8C4C-F845620F22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3E72B71-5B50-41F1-9877-0EBC235367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B57A4A5-F02B-4780-A942-18B3778776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E4081CB-EFD5-420D-9C73-B79E9D8574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48DB639-D5B4-47C7-BDAE-4AC7AEBADD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0DBB716-2BA1-4D44-9E63-9514ADDD4B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7BF6DEB-F647-40CD-8453-E03D9FC3BE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8D34851-43FA-4C86-9DD0-68ABDE0B39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CAA8539-3B61-4F0F-9C3C-BD01D54485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AEFB0D9-34D9-4DB3-B37C-670DBB1541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306D8C9-6911-483C-98C0-24CDEFE6BA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937513E-8655-4293-8C94-6A4A6D2F74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058772F-D8D2-47B4-A4E2-75FB7B69E7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2012C18-88F8-4538-BC0C-12F7AB9F34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FAB9355-0B10-406E-B339-A610C3CB3F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649CF67-BC2C-4734-9093-856DF35703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1B6B6FC-809A-495E-A775-2B4A32FCF7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706D888-EC54-4780-BF8C-A4182D5195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C43ECB0-CAE5-46F0-9F01-A483B492CA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BF53068-6385-4430-82D9-740DD42F41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A1C3E60-0897-48C3-A104-0214EE01CC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967AC5F-C7A2-480D-825E-F3694DD998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CA1EEED-7287-43CC-8E03-AC3527A0EA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E15234C-A062-4A23-910C-72606E4F7D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4703734-C47E-4895-800C-BA963A0D24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88B15EC-57FC-40DE-AA4F-32099EFFB1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F110090-5A26-4CAE-9E5E-D74638DB77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3A2A21B-5E55-4566-81C2-5A6DD6191C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60E8FF9-2437-4E71-9485-CC1DDA7E2A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338529D-38AB-4658-A37F-D63F75946F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F876633-9397-40DA-BC92-73A47D7519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A9B2558-2293-48D9-A220-381E4A08BE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8559371-AC81-4084-9F17-D788A4B730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B89AD21-34BC-4C13-8D98-B6B1CB2779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DCEECBE-D41A-4D7D-94F9-D121292072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6C4CA72-C9F5-4320-92FA-402B42348B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4753BD0-DB87-4021-9091-B80DCBFF1B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734C600-59DB-4C75-8E2E-15E6B29E10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8F4274B-5241-478E-9677-F08B230381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1277F04-B710-419E-972B-247D04EE93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5EB032B-513B-49DF-B858-3BC9CE7CD4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E3416DA-80E4-4797-93A0-240FD8A856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025C751-DC62-4571-A4CE-59952E7C55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7A50A50-8D95-49E8-9B6F-93C5C00EAC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359B503-DDC0-4D06-9B37-7DAD2933AC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973C883-8A19-490B-ADDE-2F36B76B3D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E15C281-A438-47AA-8233-DA020D2D4C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DC88D9F-EC91-4F7D-AE69-69B9D5B822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0B0A6EF-0A63-47EA-A881-5FC93264B7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63BC872-4462-4050-B075-BFEA4610B5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A8C8099-0ECE-4648-81EC-8FA206B505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7775C46-C386-42C1-8DC7-8D85943AF8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0E86665-F3A9-46B0-A97E-FDE8E49B17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A99312A-8E91-4171-AD93-1F4BD1521B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E57BF6C-044B-45BB-A6A3-50B8B26969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AD53BFC-2788-4D2E-83D3-E19EB14242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5D23FDE-F054-4E45-8942-04B130E085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B8DE94A-DC9E-43CE-B926-8DF6E5F779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655D671-088E-4531-9965-66D90F0C38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64568DA-36CB-49F4-8CA0-57EABEB9CC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81434F8-ADE5-4E58-B6A6-D74E0DC46F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ECFEB20-ED5C-4F54-A312-3FFAF383DE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AF4B473-C854-4881-846F-A9EB507C5B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CEA4AE4-7326-4378-983C-89D7BD6767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359F781-7728-4D96-86A6-95D044B276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17FCA91-AEFC-4676-BB6A-BF6C1D884D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0BE3DF1-ECB9-4D6F-BF34-6CF17B8ABC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BC45BEE-3EBC-4FD1-AA34-0F96E2096B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A099647-5545-4BA0-9373-166BE80D51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746D520-DF2B-4BB1-A6C5-3938F01055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9D6A50A-1F6E-49BA-8340-1515AB14FC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A776FF1-774F-4BC8-BAC8-99BA7D890E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96BF344-FAE1-49A8-84D6-59B8D78E50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E07ED8B-26BD-431A-99C3-08ACDBB83B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6FF5B11-2048-41AB-9529-E4130CEEBB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C7E77C9-8E1E-4D9F-8AF3-E2F1584315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CD5AF13-DD89-4006-9B9B-81C0C687B6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0DB3464-27D5-437A-92A5-83ECF69FAD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C47BCA4-1E93-4B00-9CA5-72231B3BD9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8337534-1609-4C74-B688-39390980C8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0B2EF7F-0064-4071-800C-42A426AE2B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8F0F730-E65A-4D1A-B41C-48F4F83E17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1C82854-11EA-4A7F-BC79-61118523DE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26EC111-5A73-4F70-A1B4-0D646D4945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8374FBD-0EC0-4BE4-8AD8-ACE29D25A5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C0BB883-EE06-4738-8E10-31A436313F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5050743-4B80-4A9C-9F16-6F9C40BBB0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40B5066-48DB-4717-874E-63E7800EE1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CC42E08-2314-4D56-881D-6B3B1D2354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E50BC7D-E74C-43CB-8595-D5C654AD15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0EC4E41-B530-4D7C-87E5-35658762A4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8DEC0B3-3CB5-43FE-9C23-A6BA9465C5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B5C621D-5A8E-4F4C-87E5-E1C0E23A03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4105125-798A-4264-BDC7-5323FA3ADC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C9CCED9-40B9-4851-99FF-E3A7DD361C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4EFC3EA-9EF7-473F-B410-FE0E65BABE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E299DB8-9AFF-4D28-820D-1712F13EA6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C4AD1EC-FE98-4962-9EB6-A659E94BBE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1B9FFC5-B089-4F0D-B748-BC982501B7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23768AE-AF80-418F-A06F-342A78C059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0D6A024-2BB9-46D2-BDBA-EBE832EE48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A69C719-74BC-48E7-AF90-C66826C572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8F7C53F-1361-4D9E-AB84-A0C8D78F33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A7844AB-84A8-49E7-8D24-14D0E63451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7711B3C-0947-4F56-B567-5D034D0C58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8456BD1-8CDF-405D-9172-99276BA466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1264344-AC90-45E8-B127-AEE34B09D8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90B1CBC-0B92-4F05-89E6-9448E9A4B4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B243BEB-C2EC-4C3B-8014-11218ED282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C78BA6A-2BA2-4051-9DB1-7CA915DF97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C903D30-8CFA-4560-93E3-A4AC15838F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03D55CC-4BBC-44D1-954F-482D15F0A9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D81F67C-1327-4C26-94F5-BB6ABADD62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DB98163-393B-4C79-858F-0C314873CB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407B0FB-3504-42BF-B277-1DF76EE49F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C5B1F49-D519-4BDB-A02A-553467BFDF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815BC2F-BCBD-48AC-8CA4-EA762F0BF4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058C095-14E9-4865-9771-75A296695C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A451982-FC2E-464D-9DB5-55BF7D69B4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FFD756A-2BBD-49A0-BE77-501C176340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8298AD0-9D82-4A98-AE39-923AD19F83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B0748A8-1481-42C9-9192-FA183B987E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6EFC450-206F-404A-B1BD-CB97F5CAD9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CE35041-6441-43B6-9F34-7A1A7D9C94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B055999-9610-40A9-85F4-37C6CE74A1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8CA8C6D-5D2C-4634-BA69-F823095D0B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32DC235-BB9A-427B-A326-05ACB6EBD1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4ECB8C1-0069-4F64-BE86-C6C5C9FF39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9F91045-975A-4599-AEAE-A82AEFCE41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D01BE96-BB40-4546-8360-B907C4C3B1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2713D9F-1223-4E30-A7C2-3C2BA37576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DE98BAE-B91D-4DCC-B44F-27BD497FCF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9F6AA46-F91C-432C-8619-C7FB8D1D84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009A8E9-DCF6-46A5-9EA1-7F5F668EF9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6999506-7A76-42C1-9ACC-E6F92B309E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AE49C61-4A3D-4D98-AB8E-8B5B9D14BC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51ED699-DB0D-4CB1-88DD-B2AC0A41DC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FBB493F-1DF3-41D3-9DE4-A8A625E763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539B132-6CD6-4926-B933-E90FA9007A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A6B234C-DBDE-4E6E-B8D1-8BED6CE9D7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CC0AE83-BD84-46A1-968A-C7537884A3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54227A6-5078-4D7C-9647-A8EFF06F27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4D517FF-09B1-4621-8BBC-9C97E817F5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3728B6F-F671-429C-A2EB-5345FD3617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7D2EE10-4E4F-4670-8833-FE14AA09C0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8BC92FD-433B-42C3-B1A2-83F9812907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B9127D5-3421-4AD3-AE52-E7555EC4F3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DB686D1-C593-4B23-A9C5-EF62989C86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6958BBE-DDD9-4E50-AD49-7CA9E9B406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3472A18-ACEC-47C5-B565-81CB9E28D4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F661694-156D-4C69-BD25-4FC2D2ABB7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52444FA-2358-49A7-9896-D682EE7CCB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96F18C0-F4AE-4111-9C6B-3579511FD4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3B1A20A-D2B9-4304-A1FB-5F5253EB23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5B9FBDF-1E3E-4EC9-B6C4-EE9B6D6D53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2EAB8D0-F192-488C-BD20-9E828DF8E6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C44D3DA-8CE6-4693-8C2C-8C24107FF1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D49380D-073D-48FD-976D-39716D4B4D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8776BD9-9A5B-42D9-BD1A-44A68C8941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B50BDE5-F3BE-4FBD-8EE3-45608EFF6B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84B60B1-8F25-45BB-AB31-97BC0AC5C5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A725C52-7DBF-41D4-AC38-C356BBDB01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A3247F9-3D67-4202-815D-881FEA45BC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357C391-8CC9-48AD-9423-976F670A77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3EF08C3-10E4-4EE7-A991-4932D8D059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F9C22BE-2EF4-46B4-9439-612A16F5A5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FEF4F54-3B07-472D-8191-65A31DF5F2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1F5E1D4-0E58-4F76-97E3-096F4AD950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88FCF03-7F93-4DAC-A6EF-5225C2E8AE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9EE32BF-19CC-4363-88DB-BB804EE3F2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D165EAC-6E4D-4E5C-9A58-968C44A9A9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1DA17A8-5C46-4B9A-9203-E6F509A285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F67C244-6188-4E83-B6BD-203C76B867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344ABD7-E3D4-4E5A-A14F-B60EF35BDC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F328ABE-7F90-4D2A-8F7B-39266D7409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3DAF530-71A2-4040-82E0-07BAC4B43E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9F64F8A-2489-4C60-90D4-B43735E8DD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C7AFD14-6B5F-4A21-A291-F0DB4240BD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B119993-6494-422C-BEE0-4F4908FB93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6532A04-4C9D-4342-AF11-A50E9D08F0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7408F42-0A29-4B38-9361-6B3E6FFEBA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E3043E5-B37A-4EDC-924F-61392B51C9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3848925-B50B-4FAB-BC85-8CBA589BD3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86D86FF-FB89-422F-91FB-174CD23E75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04A5634-C002-42FE-AE20-C8D8FBDBE1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8E8A1D2-C943-4AB4-85D0-4575D80065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A11D7D4-64C4-418A-B377-81FA57E096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6E7E79F-EB96-400C-B428-1431942F18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61302F9-D7B8-4854-989F-C45057A0C0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B7D37D5-EE67-4601-ABC0-3026CB0B33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2390E5A-52AE-40C8-B579-C68E501D01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B1D00BF-0B9E-471F-B344-B71216795E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C7A39C1-18DA-45D7-8F1C-B826FBB9C2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EB7450F-39B7-43CA-9DFB-CA49A0A92A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E7665ED-CC8E-423A-B62C-51211C8EFE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CEA2D6A-C9F7-490F-852F-7A36579659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B5C93A9-E03B-4EA2-8350-435A367D32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3D86F1C-9CDD-428E-8004-468E684E69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28A6320-0BCA-49A9-AD44-60F9DA8462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B15ADC5-869A-4427-8CED-84F72C8DDB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FB65DBA-0534-46CB-BB96-4CCCBB4AEE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DB009D5-D57A-42CA-AC39-C28511B817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B7771EA-BF08-4ECD-BEA8-9F6FD5CAD5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08F3C27-D0F6-4435-8133-675EB4D55F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5219DB4-8DAF-40E3-81E7-CCE3C62869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5AC4A5A-48D8-4A3B-AB2A-7B92C4FBA1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3C2A6B0-7D5F-40B1-A234-53648A7105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4B246C3-2947-4394-989D-DC4921F078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EF4B975-D3EE-48ED-A968-72422BA0F2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3B1CCBB-3727-4537-9F82-55845A4027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713B66B-A010-4067-82B9-6B58260F46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59AADBC-A65C-4AB2-AFD4-797144FEF3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69AE770-65B2-4B93-93F7-02328CB045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3F896B0-779A-4D34-A8A2-D4B4B6C3FF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19F7663-DB37-49D8-9B42-E2091400C1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B931633-7504-4EF5-98B1-02295FF022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F4C0050-BA2A-42B5-923D-17575580FB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5401948-F692-491E-A0E0-69CE136DB9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14E4CA5-2B85-489A-816F-91489E5E53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57E3870-CF43-4EFD-9F3C-DDA42515DD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D8B5738-24A3-40E0-8113-1498BDB90A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314363D-3340-4AFF-B033-31F1A3A617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FA4700B-D6CF-4BC8-97B6-89E526A375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FD69C33-9A71-4E74-9DC3-09C4F98470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ACF1A02-88D5-4591-A2C8-E677156F5B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872796E-EA59-405B-A190-FF2EDBD2FC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0A0DA26-4E10-4AE4-855F-7807CF7E6C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9B5F2F6-F6ED-4E0C-8168-A6614B28F0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9DD1716-4769-47A6-B75D-C5FD3702CA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E96C3DA-7F18-4B11-801E-72430280AB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D6BAE92-A54F-40C9-8963-983D9D6DB8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341ACEC-FB52-402A-A799-158361EC11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13FC2A9-1395-4DC2-A836-A689198DCC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5AD8EB4-FE48-4387-B472-C7FB6A9A77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CCBE2B6-DC73-4EE7-AB80-26CB8B284E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00D7FA4-EF65-4285-95EA-2F549EC891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90BB414-97EA-45CB-8610-1FE6BE07CF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984417C-17CA-4EF8-9859-746540E245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A85215B-0DD0-47FC-BD7B-6E7D8F3777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D1096D5-BADC-4821-89FE-E098F1B2BC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2B0C84D-31C0-453B-AF94-9FC8900EF0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396A4B2-1680-40BD-B8FD-6E781C7F4E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11AEAF9-5C76-4B91-A698-6B8B72DBD8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4174F33-CE5B-404D-83E4-2222F5F6FC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241F5A6-EA26-4174-9A83-C282901962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8A1D449-7C49-4724-8981-47EE476CC3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D16BBD9-B6A5-4A64-A0B6-858419996A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8DA0AD9-97CC-48D4-A143-36A895C6BD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3CAADC8-3B7F-44B4-B8D8-0F54A3F2BF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E5A838B-32F4-4B03-AB26-72EB3EB69D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785468E-19F8-46CB-837A-A97F10DAB4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B6330C4-380D-4EC9-81A0-225D2DBB6C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16082E0-98B2-482E-A744-390A6CD4AD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1FC8EB0-A209-4CBA-8698-074FFA32B6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C6D8612-0D5C-4C12-9F5C-26C4F5E698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764EE39-4F07-4FE9-BDC8-54EC110351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7CE5D91-EAEA-4834-BBA4-09C53EB0FC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C5F56F7-3C52-4F40-8D6B-AC3DABAD5A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26461AB-014A-4EA6-BFCD-87E7A5DF3B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606E50F-D495-4A7A-A2A0-A8E02E36EE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8D7E53A-D0FE-4C35-A932-786F00B053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B33CE4F-C7F7-4BA7-A0E5-73B8028637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702CB84-764C-45F5-ACDD-87B99381CD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4C42332-2A3C-4248-898A-9816AD42CE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D496F63-ACCD-4832-B723-06AAB72E41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FB92888-434B-4BE6-A043-D3E1DE217B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81F23B0-B05A-49C1-B29D-F104AAD464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524C194-A22F-41BF-B835-810F20FE11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4F19E6B-8534-4C04-9E4F-3AF10D45DD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C8DDB61-82DA-45E5-8725-5043DFEEDA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666C02F-428C-4E6A-8BEF-985FFE536D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E7A0C9B-092A-47F4-8468-F2AD5A5247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5162E99-139A-4C63-9694-3E20564261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6E69F20-4CD7-4DF6-A04D-8D1692C3D1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C64D626-8AF4-4BE3-BAA8-93E2882466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4D45EF1-BBDD-4B44-937F-9CE8355B90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5116C25-4C51-4B2B-A6C7-D8BB9071A8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1863B36-95CE-43DA-9878-B41C2DD7B5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8A0212C-F964-43A1-B2FD-9C9C4C525E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77D108D-01FB-4E25-8BAA-88483B9BB8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4DD0A13-6BEB-4EFC-93BB-A555206170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0BD9F9C-CD23-4883-8E81-5E2B40090E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3A892C1-15A3-452D-A130-A0653707A8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8F8B1B0-2A71-4623-AC2B-9D4B155A47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F90EFB2-02F5-4EA1-BF1E-1C395077AD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6115862-66F0-4138-B32E-B19D1C98DB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9215881-7C43-4438-B610-1E9387C706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3CDA9E5-B3FA-4BCC-B569-ABADF29FF0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D3CF0E7-3753-4826-B0A0-AD7A2811D7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9/03/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9/3/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3/0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3/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3/0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3/0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3/0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3/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9/3/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9/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9/3/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9/3/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0.xml"/><Relationship Id="rId4" Type="http://schemas.openxmlformats.org/officeDocument/2006/relationships/image" Target="../media/image28.emf"/></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7.xml"/><Relationship Id="rId5" Type="http://schemas.openxmlformats.org/officeDocument/2006/relationships/chart" Target="../charts/chart100.xml"/><Relationship Id="rId4" Type="http://schemas.openxmlformats.org/officeDocument/2006/relationships/image" Target="../media/image28.emf"/></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8.xml"/><Relationship Id="rId5" Type="http://schemas.openxmlformats.org/officeDocument/2006/relationships/chart" Target="../charts/chart101.xml"/><Relationship Id="rId4" Type="http://schemas.openxmlformats.org/officeDocument/2006/relationships/image" Target="../media/image28.emf"/></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9.xml"/><Relationship Id="rId5" Type="http://schemas.openxmlformats.org/officeDocument/2006/relationships/chart" Target="../charts/chart102.xml"/><Relationship Id="rId4" Type="http://schemas.openxmlformats.org/officeDocument/2006/relationships/image" Target="../media/image28.emf"/></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0.xml"/><Relationship Id="rId5" Type="http://schemas.openxmlformats.org/officeDocument/2006/relationships/chart" Target="../charts/chart103.xml"/><Relationship Id="rId4" Type="http://schemas.openxmlformats.org/officeDocument/2006/relationships/image" Target="../media/image28.emf"/></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1.xml"/><Relationship Id="rId5" Type="http://schemas.openxmlformats.org/officeDocument/2006/relationships/chart" Target="../charts/chart104.xml"/><Relationship Id="rId4" Type="http://schemas.openxmlformats.org/officeDocument/2006/relationships/image" Target="../media/image28.emf"/></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2.xml"/><Relationship Id="rId5" Type="http://schemas.openxmlformats.org/officeDocument/2006/relationships/chart" Target="../charts/chart105.xml"/><Relationship Id="rId4" Type="http://schemas.openxmlformats.org/officeDocument/2006/relationships/image" Target="../media/image28.emf"/></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3.xml"/><Relationship Id="rId5" Type="http://schemas.openxmlformats.org/officeDocument/2006/relationships/chart" Target="../charts/chart106.xml"/><Relationship Id="rId4" Type="http://schemas.openxmlformats.org/officeDocument/2006/relationships/image" Target="../media/image28.emf"/></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4.xml"/><Relationship Id="rId5" Type="http://schemas.openxmlformats.org/officeDocument/2006/relationships/chart" Target="../charts/chart107.xml"/><Relationship Id="rId4" Type="http://schemas.openxmlformats.org/officeDocument/2006/relationships/image" Target="../media/image28.emf"/></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5.xml"/><Relationship Id="rId5" Type="http://schemas.openxmlformats.org/officeDocument/2006/relationships/chart" Target="../charts/chart108.xml"/><Relationship Id="rId4" Type="http://schemas.openxmlformats.org/officeDocument/2006/relationships/image" Target="../media/image28.emf"/></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6.xml"/><Relationship Id="rId5" Type="http://schemas.openxmlformats.org/officeDocument/2006/relationships/chart" Target="../charts/chart109.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1.xml"/><Relationship Id="rId4" Type="http://schemas.openxmlformats.org/officeDocument/2006/relationships/image" Target="../media/image28.emf"/></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7.xml"/><Relationship Id="rId5" Type="http://schemas.openxmlformats.org/officeDocument/2006/relationships/chart" Target="../charts/chart110.xml"/><Relationship Id="rId4" Type="http://schemas.openxmlformats.org/officeDocument/2006/relationships/image" Target="../media/image28.emf"/></Relationships>
</file>

<file path=ppt/slides/_rels/slide1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8.xml"/><Relationship Id="rId5" Type="http://schemas.openxmlformats.org/officeDocument/2006/relationships/chart" Target="../charts/chart111.xml"/><Relationship Id="rId4" Type="http://schemas.openxmlformats.org/officeDocument/2006/relationships/image" Target="../media/image28.emf"/></Relationships>
</file>

<file path=ppt/slides/_rels/slide1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9.xml"/><Relationship Id="rId5" Type="http://schemas.openxmlformats.org/officeDocument/2006/relationships/chart" Target="../charts/chart112.xml"/><Relationship Id="rId4" Type="http://schemas.openxmlformats.org/officeDocument/2006/relationships/image" Target="../media/image28.emf"/></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0.xml"/><Relationship Id="rId5" Type="http://schemas.openxmlformats.org/officeDocument/2006/relationships/chart" Target="../charts/chart113.xml"/><Relationship Id="rId4" Type="http://schemas.openxmlformats.org/officeDocument/2006/relationships/image" Target="../media/image28.emf"/></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1.xml"/><Relationship Id="rId5" Type="http://schemas.openxmlformats.org/officeDocument/2006/relationships/chart" Target="../charts/chart114.xml"/><Relationship Id="rId4" Type="http://schemas.openxmlformats.org/officeDocument/2006/relationships/image" Target="../media/image28.emf"/></Relationships>
</file>

<file path=ppt/slides/_rels/slide1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2.xml"/><Relationship Id="rId5" Type="http://schemas.openxmlformats.org/officeDocument/2006/relationships/chart" Target="../charts/chart115.xml"/><Relationship Id="rId4" Type="http://schemas.openxmlformats.org/officeDocument/2006/relationships/image" Target="../media/image28.emf"/></Relationships>
</file>

<file path=ppt/slides/_rels/slide1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3.xml"/><Relationship Id="rId5" Type="http://schemas.openxmlformats.org/officeDocument/2006/relationships/chart" Target="../charts/chart116.xml"/><Relationship Id="rId4" Type="http://schemas.openxmlformats.org/officeDocument/2006/relationships/image" Target="../media/image28.emf"/></Relationships>
</file>

<file path=ppt/slides/_rels/slide1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4.xml"/><Relationship Id="rId5" Type="http://schemas.openxmlformats.org/officeDocument/2006/relationships/chart" Target="../charts/chart117.xml"/><Relationship Id="rId4" Type="http://schemas.openxmlformats.org/officeDocument/2006/relationships/image" Target="../media/image28.emf"/></Relationships>
</file>

<file path=ppt/slides/_rels/slide1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5.xml"/><Relationship Id="rId5" Type="http://schemas.openxmlformats.org/officeDocument/2006/relationships/chart" Target="../charts/chart118.xml"/><Relationship Id="rId4" Type="http://schemas.openxmlformats.org/officeDocument/2006/relationships/image" Target="../media/image28.emf"/></Relationships>
</file>

<file path=ppt/slides/_rels/slide1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6.xml"/><Relationship Id="rId5" Type="http://schemas.openxmlformats.org/officeDocument/2006/relationships/chart" Target="../charts/chart119.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2.xml"/><Relationship Id="rId4" Type="http://schemas.openxmlformats.org/officeDocument/2006/relationships/image" Target="../media/image28.emf"/></Relationships>
</file>

<file path=ppt/slides/_rels/slide1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7.xml"/><Relationship Id="rId5" Type="http://schemas.openxmlformats.org/officeDocument/2006/relationships/chart" Target="../charts/chart120.xml"/><Relationship Id="rId4" Type="http://schemas.openxmlformats.org/officeDocument/2006/relationships/image" Target="../media/image28.emf"/></Relationships>
</file>

<file path=ppt/slides/_rels/slide1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8.xml"/><Relationship Id="rId5" Type="http://schemas.openxmlformats.org/officeDocument/2006/relationships/chart" Target="../charts/chart121.xml"/><Relationship Id="rId4" Type="http://schemas.openxmlformats.org/officeDocument/2006/relationships/image" Target="../media/image28.emf"/></Relationships>
</file>

<file path=ppt/slides/_rels/slide1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9.xml"/><Relationship Id="rId5" Type="http://schemas.openxmlformats.org/officeDocument/2006/relationships/chart" Target="../charts/chart122.xml"/><Relationship Id="rId4" Type="http://schemas.openxmlformats.org/officeDocument/2006/relationships/image" Target="../media/image28.emf"/></Relationships>
</file>

<file path=ppt/slides/_rels/slide1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0.xml"/><Relationship Id="rId5" Type="http://schemas.openxmlformats.org/officeDocument/2006/relationships/chart" Target="../charts/chart123.xml"/><Relationship Id="rId4" Type="http://schemas.openxmlformats.org/officeDocument/2006/relationships/image" Target="../media/image28.emf"/></Relationships>
</file>

<file path=ppt/slides/_rels/slide1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1.xml"/><Relationship Id="rId5" Type="http://schemas.openxmlformats.org/officeDocument/2006/relationships/chart" Target="../charts/chart124.xml"/><Relationship Id="rId4" Type="http://schemas.openxmlformats.org/officeDocument/2006/relationships/image" Target="../media/image28.emf"/></Relationships>
</file>

<file path=ppt/slides/_rels/slide1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2.xml"/><Relationship Id="rId5" Type="http://schemas.openxmlformats.org/officeDocument/2006/relationships/chart" Target="../charts/chart125.xml"/><Relationship Id="rId4" Type="http://schemas.openxmlformats.org/officeDocument/2006/relationships/image" Target="../media/image28.emf"/></Relationships>
</file>

<file path=ppt/slides/_rels/slide1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3.xml"/><Relationship Id="rId5" Type="http://schemas.openxmlformats.org/officeDocument/2006/relationships/chart" Target="../charts/chart126.xml"/><Relationship Id="rId4" Type="http://schemas.openxmlformats.org/officeDocument/2006/relationships/image" Target="../media/image28.emf"/></Relationships>
</file>

<file path=ppt/slides/_rels/slide1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4.xml"/><Relationship Id="rId5" Type="http://schemas.openxmlformats.org/officeDocument/2006/relationships/chart" Target="../charts/chart127.xml"/><Relationship Id="rId4" Type="http://schemas.openxmlformats.org/officeDocument/2006/relationships/image" Target="../media/image28.emf"/></Relationships>
</file>

<file path=ppt/slides/_rels/slide1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5.xml"/><Relationship Id="rId5" Type="http://schemas.openxmlformats.org/officeDocument/2006/relationships/chart" Target="../charts/chart128.xml"/><Relationship Id="rId4" Type="http://schemas.openxmlformats.org/officeDocument/2006/relationships/image" Target="../media/image28.emf"/></Relationships>
</file>

<file path=ppt/slides/_rels/slide1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6.xml"/><Relationship Id="rId5" Type="http://schemas.openxmlformats.org/officeDocument/2006/relationships/chart" Target="../charts/chart129.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3.xml"/><Relationship Id="rId4" Type="http://schemas.openxmlformats.org/officeDocument/2006/relationships/image" Target="../media/image28.emf"/></Relationships>
</file>

<file path=ppt/slides/_rels/slide1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7.xml"/><Relationship Id="rId5" Type="http://schemas.openxmlformats.org/officeDocument/2006/relationships/chart" Target="../charts/chart130.xml"/><Relationship Id="rId4" Type="http://schemas.openxmlformats.org/officeDocument/2006/relationships/image" Target="../media/image28.emf"/></Relationships>
</file>

<file path=ppt/slides/_rels/slide1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8.xml"/><Relationship Id="rId5" Type="http://schemas.openxmlformats.org/officeDocument/2006/relationships/chart" Target="../charts/chart131.xml"/><Relationship Id="rId4" Type="http://schemas.openxmlformats.org/officeDocument/2006/relationships/image" Target="../media/image28.emf"/></Relationships>
</file>

<file path=ppt/slides/_rels/slide1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9.xml"/><Relationship Id="rId5" Type="http://schemas.openxmlformats.org/officeDocument/2006/relationships/chart" Target="../charts/chart132.xml"/><Relationship Id="rId4" Type="http://schemas.openxmlformats.org/officeDocument/2006/relationships/image" Target="../media/image28.emf"/></Relationships>
</file>

<file path=ppt/slides/_rels/slide1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0.xml"/><Relationship Id="rId5" Type="http://schemas.openxmlformats.org/officeDocument/2006/relationships/chart" Target="../charts/chart133.xml"/><Relationship Id="rId4" Type="http://schemas.openxmlformats.org/officeDocument/2006/relationships/image" Target="../media/image28.emf"/></Relationships>
</file>

<file path=ppt/slides/_rels/slide1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1.xml"/><Relationship Id="rId5" Type="http://schemas.openxmlformats.org/officeDocument/2006/relationships/chart" Target="../charts/chart134.xml"/><Relationship Id="rId4" Type="http://schemas.openxmlformats.org/officeDocument/2006/relationships/image" Target="../media/image28.emf"/></Relationships>
</file>

<file path=ppt/slides/_rels/slide1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2.xml"/><Relationship Id="rId5" Type="http://schemas.openxmlformats.org/officeDocument/2006/relationships/chart" Target="../charts/chart135.xml"/><Relationship Id="rId4" Type="http://schemas.openxmlformats.org/officeDocument/2006/relationships/image" Target="../media/image28.emf"/></Relationships>
</file>

<file path=ppt/slides/_rels/slide1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3.xml"/><Relationship Id="rId5" Type="http://schemas.openxmlformats.org/officeDocument/2006/relationships/chart" Target="../charts/chart136.xml"/><Relationship Id="rId4" Type="http://schemas.openxmlformats.org/officeDocument/2006/relationships/image" Target="../media/image28.emf"/></Relationships>
</file>

<file path=ppt/slides/_rels/slide1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4.xml"/><Relationship Id="rId5" Type="http://schemas.openxmlformats.org/officeDocument/2006/relationships/chart" Target="../charts/chart137.xml"/><Relationship Id="rId4" Type="http://schemas.openxmlformats.org/officeDocument/2006/relationships/image" Target="../media/image28.emf"/></Relationships>
</file>

<file path=ppt/slides/_rels/slide1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5.xml"/><Relationship Id="rId5" Type="http://schemas.openxmlformats.org/officeDocument/2006/relationships/chart" Target="../charts/chart138.xml"/><Relationship Id="rId4" Type="http://schemas.openxmlformats.org/officeDocument/2006/relationships/image" Target="../media/image28.emf"/></Relationships>
</file>

<file path=ppt/slides/_rels/slide1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6.xml"/><Relationship Id="rId5" Type="http://schemas.openxmlformats.org/officeDocument/2006/relationships/chart" Target="../charts/chart139.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4.xml"/><Relationship Id="rId4" Type="http://schemas.openxmlformats.org/officeDocument/2006/relationships/image" Target="../media/image28.emf"/></Relationships>
</file>

<file path=ppt/slides/_rels/slide1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7.xml"/><Relationship Id="rId5" Type="http://schemas.openxmlformats.org/officeDocument/2006/relationships/chart" Target="../charts/chart140.xml"/><Relationship Id="rId4" Type="http://schemas.openxmlformats.org/officeDocument/2006/relationships/image" Target="../media/image28.emf"/></Relationships>
</file>

<file path=ppt/slides/_rels/slide1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8.xml"/><Relationship Id="rId5" Type="http://schemas.openxmlformats.org/officeDocument/2006/relationships/chart" Target="../charts/chart141.xml"/><Relationship Id="rId4" Type="http://schemas.openxmlformats.org/officeDocument/2006/relationships/image" Target="../media/image28.emf"/></Relationships>
</file>

<file path=ppt/slides/_rels/slide1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9.xml"/><Relationship Id="rId5" Type="http://schemas.openxmlformats.org/officeDocument/2006/relationships/chart" Target="../charts/chart142.xml"/><Relationship Id="rId4" Type="http://schemas.openxmlformats.org/officeDocument/2006/relationships/image" Target="../media/image28.emf"/></Relationships>
</file>

<file path=ppt/slides/_rels/slide1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0.xml"/><Relationship Id="rId5" Type="http://schemas.openxmlformats.org/officeDocument/2006/relationships/chart" Target="../charts/chart143.xml"/><Relationship Id="rId4" Type="http://schemas.openxmlformats.org/officeDocument/2006/relationships/image" Target="../media/image28.emf"/></Relationships>
</file>

<file path=ppt/slides/_rels/slide1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1.xml"/><Relationship Id="rId5" Type="http://schemas.openxmlformats.org/officeDocument/2006/relationships/chart" Target="../charts/chart144.xml"/><Relationship Id="rId4" Type="http://schemas.openxmlformats.org/officeDocument/2006/relationships/image" Target="../media/image28.emf"/></Relationships>
</file>

<file path=ppt/slides/_rels/slide1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2.xml"/><Relationship Id="rId5" Type="http://schemas.openxmlformats.org/officeDocument/2006/relationships/chart" Target="../charts/chart145.xml"/><Relationship Id="rId4" Type="http://schemas.openxmlformats.org/officeDocument/2006/relationships/image" Target="../media/image28.emf"/></Relationships>
</file>

<file path=ppt/slides/_rels/slide1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3.xml"/><Relationship Id="rId5" Type="http://schemas.openxmlformats.org/officeDocument/2006/relationships/chart" Target="../charts/chart146.xml"/><Relationship Id="rId4" Type="http://schemas.openxmlformats.org/officeDocument/2006/relationships/image" Target="../media/image28.emf"/></Relationships>
</file>

<file path=ppt/slides/_rels/slide1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4.xml"/><Relationship Id="rId5" Type="http://schemas.openxmlformats.org/officeDocument/2006/relationships/chart" Target="../charts/chart147.xml"/><Relationship Id="rId4" Type="http://schemas.openxmlformats.org/officeDocument/2006/relationships/image" Target="../media/image28.emf"/></Relationships>
</file>

<file path=ppt/slides/_rels/slide1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5.xml"/><Relationship Id="rId5" Type="http://schemas.openxmlformats.org/officeDocument/2006/relationships/chart" Target="../charts/chart148.xml"/><Relationship Id="rId4" Type="http://schemas.openxmlformats.org/officeDocument/2006/relationships/image" Target="../media/image28.emf"/></Relationships>
</file>

<file path=ppt/slides/_rels/slide1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6.xml"/><Relationship Id="rId5" Type="http://schemas.openxmlformats.org/officeDocument/2006/relationships/chart" Target="../charts/chart149.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5.xml"/><Relationship Id="rId4" Type="http://schemas.openxmlformats.org/officeDocument/2006/relationships/image" Target="../media/image28.emf"/></Relationships>
</file>

<file path=ppt/slides/_rels/slide1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7.xml"/><Relationship Id="rId5" Type="http://schemas.openxmlformats.org/officeDocument/2006/relationships/chart" Target="../charts/chart150.xml"/><Relationship Id="rId4" Type="http://schemas.openxmlformats.org/officeDocument/2006/relationships/image" Target="../media/image28.emf"/></Relationships>
</file>

<file path=ppt/slides/_rels/slide1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8.xml"/><Relationship Id="rId5" Type="http://schemas.openxmlformats.org/officeDocument/2006/relationships/chart" Target="../charts/chart151.xml"/><Relationship Id="rId4" Type="http://schemas.openxmlformats.org/officeDocument/2006/relationships/image" Target="../media/image28.emf"/></Relationships>
</file>

<file path=ppt/slides/_rels/slide1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9.xml"/><Relationship Id="rId5" Type="http://schemas.openxmlformats.org/officeDocument/2006/relationships/chart" Target="../charts/chart152.xml"/><Relationship Id="rId4" Type="http://schemas.openxmlformats.org/officeDocument/2006/relationships/image" Target="../media/image28.emf"/></Relationships>
</file>

<file path=ppt/slides/_rels/slide1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0.xml"/><Relationship Id="rId5" Type="http://schemas.openxmlformats.org/officeDocument/2006/relationships/chart" Target="../charts/chart153.xml"/><Relationship Id="rId4" Type="http://schemas.openxmlformats.org/officeDocument/2006/relationships/image" Target="../media/image28.emf"/></Relationships>
</file>

<file path=ppt/slides/_rels/slide1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1.xml"/><Relationship Id="rId5" Type="http://schemas.openxmlformats.org/officeDocument/2006/relationships/chart" Target="../charts/chart154.xml"/><Relationship Id="rId4" Type="http://schemas.openxmlformats.org/officeDocument/2006/relationships/image" Target="../media/image28.emf"/></Relationships>
</file>

<file path=ppt/slides/_rels/slide1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2.xml"/><Relationship Id="rId5" Type="http://schemas.openxmlformats.org/officeDocument/2006/relationships/chart" Target="../charts/chart155.xml"/><Relationship Id="rId4" Type="http://schemas.openxmlformats.org/officeDocument/2006/relationships/image" Target="../media/image28.emf"/></Relationships>
</file>

<file path=ppt/slides/_rels/slide1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3.xml"/><Relationship Id="rId5" Type="http://schemas.openxmlformats.org/officeDocument/2006/relationships/chart" Target="../charts/chart156.xml"/><Relationship Id="rId4" Type="http://schemas.openxmlformats.org/officeDocument/2006/relationships/image" Target="../media/image28.emf"/></Relationships>
</file>

<file path=ppt/slides/_rels/slide1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4.xml"/><Relationship Id="rId5" Type="http://schemas.openxmlformats.org/officeDocument/2006/relationships/chart" Target="../charts/chart157.xml"/><Relationship Id="rId4" Type="http://schemas.openxmlformats.org/officeDocument/2006/relationships/image" Target="../media/image28.emf"/></Relationships>
</file>

<file path=ppt/slides/_rels/slide1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5.xml"/><Relationship Id="rId5" Type="http://schemas.openxmlformats.org/officeDocument/2006/relationships/chart" Target="../charts/chart158.xml"/><Relationship Id="rId4" Type="http://schemas.openxmlformats.org/officeDocument/2006/relationships/image" Target="../media/image28.emf"/></Relationships>
</file>

<file path=ppt/slides/_rels/slide1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6.xml"/><Relationship Id="rId5" Type="http://schemas.openxmlformats.org/officeDocument/2006/relationships/chart" Target="../charts/chart159.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16.xml"/><Relationship Id="rId4" Type="http://schemas.openxmlformats.org/officeDocument/2006/relationships/image" Target="../media/image28.emf"/></Relationships>
</file>

<file path=ppt/slides/_rels/slide1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7.xml"/><Relationship Id="rId5" Type="http://schemas.openxmlformats.org/officeDocument/2006/relationships/chart" Target="../charts/chart160.xml"/><Relationship Id="rId4" Type="http://schemas.openxmlformats.org/officeDocument/2006/relationships/image" Target="../media/image28.emf"/></Relationships>
</file>

<file path=ppt/slides/_rels/slide1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8.xml"/><Relationship Id="rId5" Type="http://schemas.openxmlformats.org/officeDocument/2006/relationships/chart" Target="../charts/chart161.xml"/><Relationship Id="rId4" Type="http://schemas.openxmlformats.org/officeDocument/2006/relationships/image" Target="../media/image28.emf"/></Relationships>
</file>

<file path=ppt/slides/_rels/slide1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9.xml"/><Relationship Id="rId5" Type="http://schemas.openxmlformats.org/officeDocument/2006/relationships/chart" Target="../charts/chart162.xml"/><Relationship Id="rId4" Type="http://schemas.openxmlformats.org/officeDocument/2006/relationships/image" Target="../media/image28.emf"/></Relationships>
</file>

<file path=ppt/slides/_rels/slide1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0.xml"/><Relationship Id="rId5" Type="http://schemas.openxmlformats.org/officeDocument/2006/relationships/chart" Target="../charts/chart163.xml"/><Relationship Id="rId4" Type="http://schemas.openxmlformats.org/officeDocument/2006/relationships/image" Target="../media/image28.emf"/></Relationships>
</file>

<file path=ppt/slides/_rels/slide1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1.xml"/><Relationship Id="rId5" Type="http://schemas.openxmlformats.org/officeDocument/2006/relationships/chart" Target="../charts/chart164.xml"/><Relationship Id="rId4" Type="http://schemas.openxmlformats.org/officeDocument/2006/relationships/image" Target="../media/image28.emf"/></Relationships>
</file>

<file path=ppt/slides/_rels/slide1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2.xml"/><Relationship Id="rId5" Type="http://schemas.openxmlformats.org/officeDocument/2006/relationships/chart" Target="../charts/chart165.xml"/><Relationship Id="rId4" Type="http://schemas.openxmlformats.org/officeDocument/2006/relationships/image" Target="../media/image28.emf"/></Relationships>
</file>

<file path=ppt/slides/_rels/slide1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3.xml"/><Relationship Id="rId5" Type="http://schemas.openxmlformats.org/officeDocument/2006/relationships/chart" Target="../charts/chart166.xml"/><Relationship Id="rId4" Type="http://schemas.openxmlformats.org/officeDocument/2006/relationships/image" Target="../media/image28.emf"/></Relationships>
</file>

<file path=ppt/slides/_rels/slide1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4.xml"/><Relationship Id="rId5" Type="http://schemas.openxmlformats.org/officeDocument/2006/relationships/chart" Target="../charts/chart167.xml"/><Relationship Id="rId4" Type="http://schemas.openxmlformats.org/officeDocument/2006/relationships/image" Target="../media/image28.emf"/></Relationships>
</file>

<file path=ppt/slides/_rels/slide1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5.xml"/><Relationship Id="rId5" Type="http://schemas.openxmlformats.org/officeDocument/2006/relationships/chart" Target="../charts/chart168.xml"/><Relationship Id="rId4" Type="http://schemas.openxmlformats.org/officeDocument/2006/relationships/image" Target="../media/image28.emf"/></Relationships>
</file>

<file path=ppt/slides/_rels/slide1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6.xml"/><Relationship Id="rId5" Type="http://schemas.openxmlformats.org/officeDocument/2006/relationships/chart" Target="../charts/chart169.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17.xml"/><Relationship Id="rId4" Type="http://schemas.openxmlformats.org/officeDocument/2006/relationships/image" Target="../media/image28.emf"/></Relationships>
</file>

<file path=ppt/slides/_rels/slide1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7.xml"/><Relationship Id="rId5" Type="http://schemas.openxmlformats.org/officeDocument/2006/relationships/chart" Target="../charts/chart170.xml"/><Relationship Id="rId4" Type="http://schemas.openxmlformats.org/officeDocument/2006/relationships/image" Target="../media/image28.emf"/></Relationships>
</file>

<file path=ppt/slides/_rels/slide1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8.xml"/><Relationship Id="rId5" Type="http://schemas.openxmlformats.org/officeDocument/2006/relationships/chart" Target="../charts/chart171.xml"/><Relationship Id="rId4" Type="http://schemas.openxmlformats.org/officeDocument/2006/relationships/image" Target="../media/image28.emf"/></Relationships>
</file>

<file path=ppt/slides/_rels/slide1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9.xml"/><Relationship Id="rId5" Type="http://schemas.openxmlformats.org/officeDocument/2006/relationships/chart" Target="../charts/chart172.xml"/><Relationship Id="rId4" Type="http://schemas.openxmlformats.org/officeDocument/2006/relationships/image" Target="../media/image28.emf"/></Relationships>
</file>

<file path=ppt/slides/_rels/slide1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0.xml"/><Relationship Id="rId5" Type="http://schemas.openxmlformats.org/officeDocument/2006/relationships/chart" Target="../charts/chart173.xml"/><Relationship Id="rId4" Type="http://schemas.openxmlformats.org/officeDocument/2006/relationships/image" Target="../media/image28.emf"/></Relationships>
</file>

<file path=ppt/slides/_rels/slide1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1.xml"/><Relationship Id="rId5" Type="http://schemas.openxmlformats.org/officeDocument/2006/relationships/chart" Target="../charts/chart174.xml"/><Relationship Id="rId4" Type="http://schemas.openxmlformats.org/officeDocument/2006/relationships/image" Target="../media/image28.emf"/></Relationships>
</file>

<file path=ppt/slides/_rels/slide1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2.xml"/><Relationship Id="rId5" Type="http://schemas.openxmlformats.org/officeDocument/2006/relationships/chart" Target="../charts/chart175.xml"/><Relationship Id="rId4" Type="http://schemas.openxmlformats.org/officeDocument/2006/relationships/image" Target="../media/image28.emf"/></Relationships>
</file>

<file path=ppt/slides/_rels/slide1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3.xml"/><Relationship Id="rId5" Type="http://schemas.openxmlformats.org/officeDocument/2006/relationships/chart" Target="../charts/chart176.xml"/><Relationship Id="rId4" Type="http://schemas.openxmlformats.org/officeDocument/2006/relationships/image" Target="../media/image28.emf"/></Relationships>
</file>

<file path=ppt/slides/_rels/slide1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4.xml"/><Relationship Id="rId5" Type="http://schemas.openxmlformats.org/officeDocument/2006/relationships/chart" Target="../charts/chart177.xml"/><Relationship Id="rId4" Type="http://schemas.openxmlformats.org/officeDocument/2006/relationships/image" Target="../media/image28.emf"/></Relationships>
</file>

<file path=ppt/slides/_rels/slide1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5.xml"/><Relationship Id="rId5" Type="http://schemas.openxmlformats.org/officeDocument/2006/relationships/chart" Target="../charts/chart178.xml"/><Relationship Id="rId4" Type="http://schemas.openxmlformats.org/officeDocument/2006/relationships/image" Target="../media/image28.emf"/></Relationships>
</file>

<file path=ppt/slides/_rels/slide1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6.xml"/><Relationship Id="rId5" Type="http://schemas.openxmlformats.org/officeDocument/2006/relationships/chart" Target="../charts/chart179.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18.xml"/><Relationship Id="rId4" Type="http://schemas.openxmlformats.org/officeDocument/2006/relationships/image" Target="../media/image28.emf"/></Relationships>
</file>

<file path=ppt/slides/_rels/slide1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7.xml"/><Relationship Id="rId5" Type="http://schemas.openxmlformats.org/officeDocument/2006/relationships/chart" Target="../charts/chart180.xml"/><Relationship Id="rId4" Type="http://schemas.openxmlformats.org/officeDocument/2006/relationships/image" Target="../media/image28.emf"/></Relationships>
</file>

<file path=ppt/slides/_rels/slide1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8.xml"/><Relationship Id="rId5" Type="http://schemas.openxmlformats.org/officeDocument/2006/relationships/chart" Target="../charts/chart181.xml"/><Relationship Id="rId4" Type="http://schemas.openxmlformats.org/officeDocument/2006/relationships/image" Target="../media/image28.emf"/></Relationships>
</file>

<file path=ppt/slides/_rels/slide1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9.xml"/><Relationship Id="rId5" Type="http://schemas.openxmlformats.org/officeDocument/2006/relationships/chart" Target="../charts/chart182.xml"/><Relationship Id="rId4" Type="http://schemas.openxmlformats.org/officeDocument/2006/relationships/image" Target="../media/image28.emf"/></Relationships>
</file>

<file path=ppt/slides/_rels/slide1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0.xml"/><Relationship Id="rId5" Type="http://schemas.openxmlformats.org/officeDocument/2006/relationships/chart" Target="../charts/chart183.xml"/><Relationship Id="rId4" Type="http://schemas.openxmlformats.org/officeDocument/2006/relationships/image" Target="../media/image28.emf"/></Relationships>
</file>

<file path=ppt/slides/_rels/slide1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1.xml"/><Relationship Id="rId5" Type="http://schemas.openxmlformats.org/officeDocument/2006/relationships/chart" Target="../charts/chart184.xml"/><Relationship Id="rId4" Type="http://schemas.openxmlformats.org/officeDocument/2006/relationships/image" Target="../media/image28.emf"/></Relationships>
</file>

<file path=ppt/slides/_rels/slide1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2.xml"/><Relationship Id="rId5" Type="http://schemas.openxmlformats.org/officeDocument/2006/relationships/chart" Target="../charts/chart185.xml"/><Relationship Id="rId4" Type="http://schemas.openxmlformats.org/officeDocument/2006/relationships/image" Target="../media/image28.emf"/></Relationships>
</file>

<file path=ppt/slides/_rels/slide1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3.xml"/><Relationship Id="rId5" Type="http://schemas.openxmlformats.org/officeDocument/2006/relationships/chart" Target="../charts/chart186.xml"/><Relationship Id="rId4" Type="http://schemas.openxmlformats.org/officeDocument/2006/relationships/image" Target="../media/image28.emf"/></Relationships>
</file>

<file path=ppt/slides/_rels/slide1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4.xml"/><Relationship Id="rId5" Type="http://schemas.openxmlformats.org/officeDocument/2006/relationships/chart" Target="../charts/chart187.xml"/><Relationship Id="rId4" Type="http://schemas.openxmlformats.org/officeDocument/2006/relationships/image" Target="../media/image28.emf"/></Relationships>
</file>

<file path=ppt/slides/_rels/slide1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5.xml"/><Relationship Id="rId5" Type="http://schemas.openxmlformats.org/officeDocument/2006/relationships/chart" Target="../charts/chart188.xml"/><Relationship Id="rId4" Type="http://schemas.openxmlformats.org/officeDocument/2006/relationships/image" Target="../media/image28.emf"/></Relationships>
</file>

<file path=ppt/slides/_rels/slide1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6.xml"/><Relationship Id="rId5" Type="http://schemas.openxmlformats.org/officeDocument/2006/relationships/chart" Target="../charts/chart189.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19.xml"/><Relationship Id="rId4" Type="http://schemas.openxmlformats.org/officeDocument/2006/relationships/image" Target="../media/image28.emf"/></Relationships>
</file>

<file path=ppt/slides/_rels/slide1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7.xml"/><Relationship Id="rId5" Type="http://schemas.openxmlformats.org/officeDocument/2006/relationships/chart" Target="../charts/chart190.xml"/><Relationship Id="rId4" Type="http://schemas.openxmlformats.org/officeDocument/2006/relationships/image" Target="../media/image28.emf"/></Relationships>
</file>

<file path=ppt/slides/_rels/slide1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8.xml"/><Relationship Id="rId5" Type="http://schemas.openxmlformats.org/officeDocument/2006/relationships/chart" Target="../charts/chart191.xml"/><Relationship Id="rId4" Type="http://schemas.openxmlformats.org/officeDocument/2006/relationships/image" Target="../media/image28.emf"/></Relationships>
</file>

<file path=ppt/slides/_rels/slide1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9.xml"/><Relationship Id="rId5" Type="http://schemas.openxmlformats.org/officeDocument/2006/relationships/chart" Target="../charts/chart192.xml"/><Relationship Id="rId4" Type="http://schemas.openxmlformats.org/officeDocument/2006/relationships/image" Target="../media/image28.emf"/></Relationships>
</file>

<file path=ppt/slides/_rels/slide1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0.xml"/><Relationship Id="rId5" Type="http://schemas.openxmlformats.org/officeDocument/2006/relationships/chart" Target="../charts/chart193.xml"/><Relationship Id="rId4" Type="http://schemas.openxmlformats.org/officeDocument/2006/relationships/image" Target="../media/image28.emf"/></Relationships>
</file>

<file path=ppt/slides/_rels/slide1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1.xml"/><Relationship Id="rId5" Type="http://schemas.openxmlformats.org/officeDocument/2006/relationships/chart" Target="../charts/chart194.xml"/><Relationship Id="rId4" Type="http://schemas.openxmlformats.org/officeDocument/2006/relationships/image" Target="../media/image28.emf"/></Relationships>
</file>

<file path=ppt/slides/_rels/slide1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2.xml"/><Relationship Id="rId5" Type="http://schemas.openxmlformats.org/officeDocument/2006/relationships/chart" Target="../charts/chart195.xml"/><Relationship Id="rId4" Type="http://schemas.openxmlformats.org/officeDocument/2006/relationships/image" Target="../media/image28.emf"/></Relationships>
</file>

<file path=ppt/slides/_rels/slide1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3.xml"/><Relationship Id="rId5" Type="http://schemas.openxmlformats.org/officeDocument/2006/relationships/chart" Target="../charts/chart196.xml"/><Relationship Id="rId4" Type="http://schemas.openxmlformats.org/officeDocument/2006/relationships/image" Target="../media/image28.emf"/></Relationships>
</file>

<file path=ppt/slides/_rels/slide1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4.xml"/><Relationship Id="rId5" Type="http://schemas.openxmlformats.org/officeDocument/2006/relationships/chart" Target="../charts/chart197.xml"/><Relationship Id="rId4" Type="http://schemas.openxmlformats.org/officeDocument/2006/relationships/image" Target="../media/image28.emf"/></Relationships>
</file>

<file path=ppt/slides/_rels/slide1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5.xml"/><Relationship Id="rId5" Type="http://schemas.openxmlformats.org/officeDocument/2006/relationships/chart" Target="../charts/chart198.xml"/><Relationship Id="rId4" Type="http://schemas.openxmlformats.org/officeDocument/2006/relationships/image" Target="../media/image28.emf"/></Relationships>
</file>

<file path=ppt/slides/_rels/slide1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6.xml"/><Relationship Id="rId5" Type="http://schemas.openxmlformats.org/officeDocument/2006/relationships/chart" Target="../charts/chart199.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20.xml"/><Relationship Id="rId4" Type="http://schemas.openxmlformats.org/officeDocument/2006/relationships/image" Target="../media/image28.emf"/></Relationships>
</file>

<file path=ppt/slides/_rels/slide2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7.xml"/><Relationship Id="rId5" Type="http://schemas.openxmlformats.org/officeDocument/2006/relationships/chart" Target="../charts/chart200.xml"/><Relationship Id="rId4" Type="http://schemas.openxmlformats.org/officeDocument/2006/relationships/image" Target="../media/image28.emf"/></Relationships>
</file>

<file path=ppt/slides/_rels/slide2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8.xml"/><Relationship Id="rId5" Type="http://schemas.openxmlformats.org/officeDocument/2006/relationships/chart" Target="../charts/chart201.xml"/><Relationship Id="rId4" Type="http://schemas.openxmlformats.org/officeDocument/2006/relationships/image" Target="../media/image28.emf"/></Relationships>
</file>

<file path=ppt/slides/_rels/slide2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9.xml"/><Relationship Id="rId5" Type="http://schemas.openxmlformats.org/officeDocument/2006/relationships/chart" Target="../charts/chart202.xml"/><Relationship Id="rId4" Type="http://schemas.openxmlformats.org/officeDocument/2006/relationships/image" Target="../media/image28.emf"/></Relationships>
</file>

<file path=ppt/slides/_rels/slide2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0.xml"/><Relationship Id="rId5" Type="http://schemas.openxmlformats.org/officeDocument/2006/relationships/chart" Target="../charts/chart203.xml"/><Relationship Id="rId4" Type="http://schemas.openxmlformats.org/officeDocument/2006/relationships/image" Target="../media/image28.emf"/></Relationships>
</file>

<file path=ppt/slides/_rels/slide2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1.xml"/><Relationship Id="rId5" Type="http://schemas.openxmlformats.org/officeDocument/2006/relationships/chart" Target="../charts/chart204.xml"/><Relationship Id="rId4" Type="http://schemas.openxmlformats.org/officeDocument/2006/relationships/image" Target="../media/image28.emf"/></Relationships>
</file>

<file path=ppt/slides/_rels/slide2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2.xml"/><Relationship Id="rId5" Type="http://schemas.openxmlformats.org/officeDocument/2006/relationships/chart" Target="../charts/chart205.xml"/><Relationship Id="rId4" Type="http://schemas.openxmlformats.org/officeDocument/2006/relationships/image" Target="../media/image28.emf"/></Relationships>
</file>

<file path=ppt/slides/_rels/slide2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3.xml"/><Relationship Id="rId5" Type="http://schemas.openxmlformats.org/officeDocument/2006/relationships/chart" Target="../charts/chart206.xml"/><Relationship Id="rId4" Type="http://schemas.openxmlformats.org/officeDocument/2006/relationships/image" Target="../media/image28.emf"/></Relationships>
</file>

<file path=ppt/slides/_rels/slide2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4.xml"/><Relationship Id="rId5" Type="http://schemas.openxmlformats.org/officeDocument/2006/relationships/chart" Target="../charts/chart207.xml"/><Relationship Id="rId4" Type="http://schemas.openxmlformats.org/officeDocument/2006/relationships/image" Target="../media/image28.emf"/></Relationships>
</file>

<file path=ppt/slides/_rels/slide2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5.xml"/><Relationship Id="rId5" Type="http://schemas.openxmlformats.org/officeDocument/2006/relationships/chart" Target="../charts/chart208.xml"/><Relationship Id="rId4" Type="http://schemas.openxmlformats.org/officeDocument/2006/relationships/image" Target="../media/image28.emf"/></Relationships>
</file>

<file path=ppt/slides/_rels/slide2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6.xml"/><Relationship Id="rId5" Type="http://schemas.openxmlformats.org/officeDocument/2006/relationships/chart" Target="../charts/chart209.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21.xml"/><Relationship Id="rId4" Type="http://schemas.openxmlformats.org/officeDocument/2006/relationships/image" Target="../media/image28.emf"/></Relationships>
</file>

<file path=ppt/slides/_rels/slide2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7.xml"/><Relationship Id="rId5" Type="http://schemas.openxmlformats.org/officeDocument/2006/relationships/chart" Target="../charts/chart210.xml"/><Relationship Id="rId4" Type="http://schemas.openxmlformats.org/officeDocument/2006/relationships/image" Target="../media/image28.emf"/></Relationships>
</file>

<file path=ppt/slides/_rels/slide2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8.xml"/><Relationship Id="rId5" Type="http://schemas.openxmlformats.org/officeDocument/2006/relationships/chart" Target="../charts/chart211.xml"/><Relationship Id="rId4" Type="http://schemas.openxmlformats.org/officeDocument/2006/relationships/image" Target="../media/image28.emf"/></Relationships>
</file>

<file path=ppt/slides/_rels/slide2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9.xml"/><Relationship Id="rId5" Type="http://schemas.openxmlformats.org/officeDocument/2006/relationships/chart" Target="../charts/chart212.xml"/><Relationship Id="rId4" Type="http://schemas.openxmlformats.org/officeDocument/2006/relationships/image" Target="../media/image28.emf"/></Relationships>
</file>

<file path=ppt/slides/_rels/slide2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0.xml"/><Relationship Id="rId5" Type="http://schemas.openxmlformats.org/officeDocument/2006/relationships/chart" Target="../charts/chart213.xml"/><Relationship Id="rId4" Type="http://schemas.openxmlformats.org/officeDocument/2006/relationships/image" Target="../media/image28.emf"/></Relationships>
</file>

<file path=ppt/slides/_rels/slide2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1.xml"/><Relationship Id="rId5" Type="http://schemas.openxmlformats.org/officeDocument/2006/relationships/chart" Target="../charts/chart214.xml"/><Relationship Id="rId4" Type="http://schemas.openxmlformats.org/officeDocument/2006/relationships/image" Target="../media/image28.emf"/></Relationships>
</file>

<file path=ppt/slides/_rels/slide2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2.xml"/><Relationship Id="rId5" Type="http://schemas.openxmlformats.org/officeDocument/2006/relationships/chart" Target="../charts/chart215.xml"/><Relationship Id="rId4" Type="http://schemas.openxmlformats.org/officeDocument/2006/relationships/image" Target="../media/image28.emf"/></Relationships>
</file>

<file path=ppt/slides/_rels/slide2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3.xml"/><Relationship Id="rId5" Type="http://schemas.openxmlformats.org/officeDocument/2006/relationships/chart" Target="../charts/chart216.xml"/><Relationship Id="rId4" Type="http://schemas.openxmlformats.org/officeDocument/2006/relationships/image" Target="../media/image28.emf"/></Relationships>
</file>

<file path=ppt/slides/_rels/slide2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4.xml"/><Relationship Id="rId5" Type="http://schemas.openxmlformats.org/officeDocument/2006/relationships/chart" Target="../charts/chart217.xml"/><Relationship Id="rId4" Type="http://schemas.openxmlformats.org/officeDocument/2006/relationships/image" Target="../media/image28.emf"/></Relationships>
</file>

<file path=ppt/slides/_rels/slide2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5.xml"/><Relationship Id="rId5" Type="http://schemas.openxmlformats.org/officeDocument/2006/relationships/chart" Target="../charts/chart218.xml"/><Relationship Id="rId4" Type="http://schemas.openxmlformats.org/officeDocument/2006/relationships/image" Target="../media/image28.emf"/></Relationships>
</file>

<file path=ppt/slides/_rels/slide2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6.xml"/><Relationship Id="rId5" Type="http://schemas.openxmlformats.org/officeDocument/2006/relationships/chart" Target="../charts/chart219.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chart" Target="../charts/chart22.xml"/><Relationship Id="rId4" Type="http://schemas.openxmlformats.org/officeDocument/2006/relationships/image" Target="../media/image28.emf"/></Relationships>
</file>

<file path=ppt/slides/_rels/slide2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7.xml"/><Relationship Id="rId5" Type="http://schemas.openxmlformats.org/officeDocument/2006/relationships/chart" Target="../charts/chart220.xml"/><Relationship Id="rId4" Type="http://schemas.openxmlformats.org/officeDocument/2006/relationships/image" Target="../media/image28.emf"/></Relationships>
</file>

<file path=ppt/slides/_rels/slide2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8.xml"/><Relationship Id="rId5" Type="http://schemas.openxmlformats.org/officeDocument/2006/relationships/chart" Target="../charts/chart221.xml"/><Relationship Id="rId4" Type="http://schemas.openxmlformats.org/officeDocument/2006/relationships/image" Target="../media/image28.emf"/></Relationships>
</file>

<file path=ppt/slides/_rels/slide2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9.xml"/><Relationship Id="rId5" Type="http://schemas.openxmlformats.org/officeDocument/2006/relationships/chart" Target="../charts/chart222.xml"/><Relationship Id="rId4" Type="http://schemas.openxmlformats.org/officeDocument/2006/relationships/image" Target="../media/image28.emf"/></Relationships>
</file>

<file path=ppt/slides/_rels/slide2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0.xml"/><Relationship Id="rId5" Type="http://schemas.openxmlformats.org/officeDocument/2006/relationships/chart" Target="../charts/chart223.xml"/><Relationship Id="rId4" Type="http://schemas.openxmlformats.org/officeDocument/2006/relationships/image" Target="../media/image28.emf"/></Relationships>
</file>

<file path=ppt/slides/_rels/slide2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1.xml"/><Relationship Id="rId5" Type="http://schemas.openxmlformats.org/officeDocument/2006/relationships/chart" Target="../charts/chart224.xml"/><Relationship Id="rId4" Type="http://schemas.openxmlformats.org/officeDocument/2006/relationships/image" Target="../media/image28.emf"/></Relationships>
</file>

<file path=ppt/slides/_rels/slide2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2.xml"/><Relationship Id="rId5" Type="http://schemas.openxmlformats.org/officeDocument/2006/relationships/chart" Target="../charts/chart225.xml"/><Relationship Id="rId4" Type="http://schemas.openxmlformats.org/officeDocument/2006/relationships/image" Target="../media/image28.emf"/></Relationships>
</file>

<file path=ppt/slides/_rels/slide2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3.xml"/><Relationship Id="rId5" Type="http://schemas.openxmlformats.org/officeDocument/2006/relationships/chart" Target="../charts/chart226.xml"/><Relationship Id="rId4" Type="http://schemas.openxmlformats.org/officeDocument/2006/relationships/image" Target="../media/image28.emf"/></Relationships>
</file>

<file path=ppt/slides/_rels/slide2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4.xml"/><Relationship Id="rId5" Type="http://schemas.openxmlformats.org/officeDocument/2006/relationships/chart" Target="../charts/chart227.xml"/><Relationship Id="rId4" Type="http://schemas.openxmlformats.org/officeDocument/2006/relationships/image" Target="../media/image28.emf"/></Relationships>
</file>

<file path=ppt/slides/_rels/slide2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5.xml"/><Relationship Id="rId5" Type="http://schemas.openxmlformats.org/officeDocument/2006/relationships/chart" Target="../charts/chart228.xml"/><Relationship Id="rId4" Type="http://schemas.openxmlformats.org/officeDocument/2006/relationships/image" Target="../media/image28.emf"/></Relationships>
</file>

<file path=ppt/slides/_rels/slide2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6.xml"/><Relationship Id="rId5" Type="http://schemas.openxmlformats.org/officeDocument/2006/relationships/chart" Target="../charts/chart229.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23.xml"/><Relationship Id="rId4" Type="http://schemas.openxmlformats.org/officeDocument/2006/relationships/image" Target="../media/image28.emf"/></Relationships>
</file>

<file path=ppt/slides/_rels/slide2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7.xml"/><Relationship Id="rId5" Type="http://schemas.openxmlformats.org/officeDocument/2006/relationships/chart" Target="../charts/chart230.xml"/><Relationship Id="rId4" Type="http://schemas.openxmlformats.org/officeDocument/2006/relationships/image" Target="../media/image28.emf"/></Relationships>
</file>

<file path=ppt/slides/_rels/slide2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8.xml"/><Relationship Id="rId5" Type="http://schemas.openxmlformats.org/officeDocument/2006/relationships/chart" Target="../charts/chart231.xml"/><Relationship Id="rId4" Type="http://schemas.openxmlformats.org/officeDocument/2006/relationships/image" Target="../media/image28.emf"/></Relationships>
</file>

<file path=ppt/slides/_rels/slide2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9.xml"/><Relationship Id="rId5" Type="http://schemas.openxmlformats.org/officeDocument/2006/relationships/chart" Target="../charts/chart232.xml"/><Relationship Id="rId4" Type="http://schemas.openxmlformats.org/officeDocument/2006/relationships/image" Target="../media/image28.emf"/></Relationships>
</file>

<file path=ppt/slides/_rels/slide2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0.xml"/><Relationship Id="rId5" Type="http://schemas.openxmlformats.org/officeDocument/2006/relationships/chart" Target="../charts/chart233.xml"/><Relationship Id="rId4" Type="http://schemas.openxmlformats.org/officeDocument/2006/relationships/image" Target="../media/image28.emf"/></Relationships>
</file>

<file path=ppt/slides/_rels/slide2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1.xml"/><Relationship Id="rId5" Type="http://schemas.openxmlformats.org/officeDocument/2006/relationships/chart" Target="../charts/chart234.xml"/><Relationship Id="rId4" Type="http://schemas.openxmlformats.org/officeDocument/2006/relationships/image" Target="../media/image28.emf"/></Relationships>
</file>

<file path=ppt/slides/_rels/slide2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2.xml"/><Relationship Id="rId5" Type="http://schemas.openxmlformats.org/officeDocument/2006/relationships/chart" Target="../charts/chart235.xml"/><Relationship Id="rId4" Type="http://schemas.openxmlformats.org/officeDocument/2006/relationships/image" Target="../media/image28.emf"/></Relationships>
</file>

<file path=ppt/slides/_rels/slide2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3.xml"/><Relationship Id="rId5" Type="http://schemas.openxmlformats.org/officeDocument/2006/relationships/chart" Target="../charts/chart236.xml"/><Relationship Id="rId4" Type="http://schemas.openxmlformats.org/officeDocument/2006/relationships/image" Target="../media/image28.emf"/></Relationships>
</file>

<file path=ppt/slides/_rels/slide2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4.xml"/><Relationship Id="rId5" Type="http://schemas.openxmlformats.org/officeDocument/2006/relationships/chart" Target="../charts/chart237.xml"/><Relationship Id="rId4" Type="http://schemas.openxmlformats.org/officeDocument/2006/relationships/image" Target="../media/image28.emf"/></Relationships>
</file>

<file path=ppt/slides/_rels/slide2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5.xml"/><Relationship Id="rId5" Type="http://schemas.openxmlformats.org/officeDocument/2006/relationships/chart" Target="../charts/chart238.xml"/><Relationship Id="rId4" Type="http://schemas.openxmlformats.org/officeDocument/2006/relationships/image" Target="../media/image28.emf"/></Relationships>
</file>

<file path=ppt/slides/_rels/slide2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6.xml"/><Relationship Id="rId5" Type="http://schemas.openxmlformats.org/officeDocument/2006/relationships/chart" Target="../charts/chart239.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24.xml"/><Relationship Id="rId4" Type="http://schemas.openxmlformats.org/officeDocument/2006/relationships/image" Target="../media/image28.emf"/></Relationships>
</file>

<file path=ppt/slides/_rels/slide2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7.xml"/><Relationship Id="rId5" Type="http://schemas.openxmlformats.org/officeDocument/2006/relationships/chart" Target="../charts/chart240.xml"/><Relationship Id="rId4" Type="http://schemas.openxmlformats.org/officeDocument/2006/relationships/image" Target="../media/image28.emf"/></Relationships>
</file>

<file path=ppt/slides/_rels/slide2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8.xml"/><Relationship Id="rId5" Type="http://schemas.openxmlformats.org/officeDocument/2006/relationships/chart" Target="../charts/chart241.xml"/><Relationship Id="rId4" Type="http://schemas.openxmlformats.org/officeDocument/2006/relationships/image" Target="../media/image28.emf"/></Relationships>
</file>

<file path=ppt/slides/_rels/slide2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9.xml"/><Relationship Id="rId5" Type="http://schemas.openxmlformats.org/officeDocument/2006/relationships/chart" Target="../charts/chart242.xml"/><Relationship Id="rId4" Type="http://schemas.openxmlformats.org/officeDocument/2006/relationships/image" Target="../media/image28.emf"/></Relationships>
</file>

<file path=ppt/slides/_rels/slide2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0.xml"/><Relationship Id="rId5" Type="http://schemas.openxmlformats.org/officeDocument/2006/relationships/chart" Target="../charts/chart243.xml"/><Relationship Id="rId4" Type="http://schemas.openxmlformats.org/officeDocument/2006/relationships/image" Target="../media/image28.emf"/></Relationships>
</file>

<file path=ppt/slides/_rels/slide2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1.xml"/><Relationship Id="rId5" Type="http://schemas.openxmlformats.org/officeDocument/2006/relationships/chart" Target="../charts/chart244.xml"/><Relationship Id="rId4" Type="http://schemas.openxmlformats.org/officeDocument/2006/relationships/image" Target="../media/image28.emf"/></Relationships>
</file>

<file path=ppt/slides/_rels/slide2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2.xml"/><Relationship Id="rId5" Type="http://schemas.openxmlformats.org/officeDocument/2006/relationships/chart" Target="../charts/chart245.xml"/><Relationship Id="rId4" Type="http://schemas.openxmlformats.org/officeDocument/2006/relationships/image" Target="../media/image28.emf"/></Relationships>
</file>

<file path=ppt/slides/_rels/slide2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3.xml"/><Relationship Id="rId5" Type="http://schemas.openxmlformats.org/officeDocument/2006/relationships/chart" Target="../charts/chart246.xml"/><Relationship Id="rId4" Type="http://schemas.openxmlformats.org/officeDocument/2006/relationships/image" Target="../media/image28.emf"/></Relationships>
</file>

<file path=ppt/slides/_rels/slide2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4.xml"/><Relationship Id="rId5" Type="http://schemas.openxmlformats.org/officeDocument/2006/relationships/chart" Target="../charts/chart247.xml"/><Relationship Id="rId4" Type="http://schemas.openxmlformats.org/officeDocument/2006/relationships/image" Target="../media/image28.emf"/></Relationships>
</file>

<file path=ppt/slides/_rels/slide2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5.xml"/><Relationship Id="rId5" Type="http://schemas.openxmlformats.org/officeDocument/2006/relationships/chart" Target="../charts/chart248.xml"/><Relationship Id="rId4" Type="http://schemas.openxmlformats.org/officeDocument/2006/relationships/image" Target="../media/image28.emf"/></Relationships>
</file>

<file path=ppt/slides/_rels/slide2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6.xml"/><Relationship Id="rId5" Type="http://schemas.openxmlformats.org/officeDocument/2006/relationships/chart" Target="../charts/chart249.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25.xml"/><Relationship Id="rId4" Type="http://schemas.openxmlformats.org/officeDocument/2006/relationships/image" Target="../media/image28.emf"/></Relationships>
</file>

<file path=ppt/slides/_rels/slide2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7.xml"/><Relationship Id="rId5" Type="http://schemas.openxmlformats.org/officeDocument/2006/relationships/chart" Target="../charts/chart250.xml"/><Relationship Id="rId4" Type="http://schemas.openxmlformats.org/officeDocument/2006/relationships/image" Target="../media/image28.emf"/></Relationships>
</file>

<file path=ppt/slides/_rels/slide2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8.xml"/><Relationship Id="rId5" Type="http://schemas.openxmlformats.org/officeDocument/2006/relationships/chart" Target="../charts/chart251.xml"/><Relationship Id="rId4" Type="http://schemas.openxmlformats.org/officeDocument/2006/relationships/image" Target="../media/image28.emf"/></Relationships>
</file>

<file path=ppt/slides/_rels/slide2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9.xml"/><Relationship Id="rId5" Type="http://schemas.openxmlformats.org/officeDocument/2006/relationships/chart" Target="../charts/chart252.xml"/><Relationship Id="rId4" Type="http://schemas.openxmlformats.org/officeDocument/2006/relationships/image" Target="../media/image28.emf"/></Relationships>
</file>

<file path=ppt/slides/_rels/slide2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0.xml"/><Relationship Id="rId5" Type="http://schemas.openxmlformats.org/officeDocument/2006/relationships/chart" Target="../charts/chart253.xml"/><Relationship Id="rId4" Type="http://schemas.openxmlformats.org/officeDocument/2006/relationships/image" Target="../media/image28.emf"/></Relationships>
</file>

<file path=ppt/slides/_rels/slide2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1.xml"/><Relationship Id="rId5" Type="http://schemas.openxmlformats.org/officeDocument/2006/relationships/chart" Target="../charts/chart254.xml"/><Relationship Id="rId4" Type="http://schemas.openxmlformats.org/officeDocument/2006/relationships/image" Target="../media/image28.emf"/></Relationships>
</file>

<file path=ppt/slides/_rels/slide2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2.xml"/><Relationship Id="rId5" Type="http://schemas.openxmlformats.org/officeDocument/2006/relationships/chart" Target="../charts/chart255.xml"/><Relationship Id="rId4" Type="http://schemas.openxmlformats.org/officeDocument/2006/relationships/image" Target="../media/image28.emf"/></Relationships>
</file>

<file path=ppt/slides/_rels/slide2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3.xml"/><Relationship Id="rId5" Type="http://schemas.openxmlformats.org/officeDocument/2006/relationships/chart" Target="../charts/chart256.xml"/><Relationship Id="rId4" Type="http://schemas.openxmlformats.org/officeDocument/2006/relationships/image" Target="../media/image28.emf"/></Relationships>
</file>

<file path=ppt/slides/_rels/slide2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4.xml"/><Relationship Id="rId5" Type="http://schemas.openxmlformats.org/officeDocument/2006/relationships/chart" Target="../charts/chart257.xml"/><Relationship Id="rId4" Type="http://schemas.openxmlformats.org/officeDocument/2006/relationships/image" Target="../media/image28.emf"/></Relationships>
</file>

<file path=ppt/slides/_rels/slide2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5.xml"/><Relationship Id="rId5" Type="http://schemas.openxmlformats.org/officeDocument/2006/relationships/chart" Target="../charts/chart258.xml"/><Relationship Id="rId4" Type="http://schemas.openxmlformats.org/officeDocument/2006/relationships/image" Target="../media/image28.emf"/></Relationships>
</file>

<file path=ppt/slides/_rels/slide2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6.xml"/><Relationship Id="rId5" Type="http://schemas.openxmlformats.org/officeDocument/2006/relationships/chart" Target="../charts/chart259.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26.xml"/><Relationship Id="rId4" Type="http://schemas.openxmlformats.org/officeDocument/2006/relationships/image" Target="../media/image28.emf"/></Relationships>
</file>

<file path=ppt/slides/_rels/slide2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7.xml"/><Relationship Id="rId5" Type="http://schemas.openxmlformats.org/officeDocument/2006/relationships/chart" Target="../charts/chart260.xml"/><Relationship Id="rId4" Type="http://schemas.openxmlformats.org/officeDocument/2006/relationships/image" Target="../media/image28.emf"/></Relationships>
</file>

<file path=ppt/slides/_rels/slide2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8.xml"/><Relationship Id="rId5" Type="http://schemas.openxmlformats.org/officeDocument/2006/relationships/chart" Target="../charts/chart261.xml"/><Relationship Id="rId4" Type="http://schemas.openxmlformats.org/officeDocument/2006/relationships/image" Target="../media/image28.emf"/></Relationships>
</file>

<file path=ppt/slides/_rels/slide2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9.xml"/><Relationship Id="rId5" Type="http://schemas.openxmlformats.org/officeDocument/2006/relationships/chart" Target="../charts/chart262.xml"/><Relationship Id="rId4" Type="http://schemas.openxmlformats.org/officeDocument/2006/relationships/image" Target="../media/image28.emf"/></Relationships>
</file>

<file path=ppt/slides/_rels/slide2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0.xml"/><Relationship Id="rId5" Type="http://schemas.openxmlformats.org/officeDocument/2006/relationships/chart" Target="../charts/chart263.xml"/><Relationship Id="rId4" Type="http://schemas.openxmlformats.org/officeDocument/2006/relationships/image" Target="../media/image28.emf"/></Relationships>
</file>

<file path=ppt/slides/_rels/slide2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1.xml"/><Relationship Id="rId5" Type="http://schemas.openxmlformats.org/officeDocument/2006/relationships/chart" Target="../charts/chart264.xml"/><Relationship Id="rId4" Type="http://schemas.openxmlformats.org/officeDocument/2006/relationships/image" Target="../media/image28.emf"/></Relationships>
</file>

<file path=ppt/slides/_rels/slide2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2.xml"/><Relationship Id="rId5" Type="http://schemas.openxmlformats.org/officeDocument/2006/relationships/chart" Target="../charts/chart265.xml"/><Relationship Id="rId4" Type="http://schemas.openxmlformats.org/officeDocument/2006/relationships/image" Target="../media/image28.emf"/></Relationships>
</file>

<file path=ppt/slides/_rels/slide2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3.xml"/><Relationship Id="rId5" Type="http://schemas.openxmlformats.org/officeDocument/2006/relationships/chart" Target="../charts/chart266.xml"/><Relationship Id="rId4" Type="http://schemas.openxmlformats.org/officeDocument/2006/relationships/image" Target="../media/image28.emf"/></Relationships>
</file>

<file path=ppt/slides/_rels/slide2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4.xml"/><Relationship Id="rId5" Type="http://schemas.openxmlformats.org/officeDocument/2006/relationships/chart" Target="../charts/chart267.xml"/><Relationship Id="rId4" Type="http://schemas.openxmlformats.org/officeDocument/2006/relationships/image" Target="../media/image28.emf"/></Relationships>
</file>

<file path=ppt/slides/_rels/slide2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5.xml"/><Relationship Id="rId5" Type="http://schemas.openxmlformats.org/officeDocument/2006/relationships/chart" Target="../charts/chart268.xml"/><Relationship Id="rId4" Type="http://schemas.openxmlformats.org/officeDocument/2006/relationships/image" Target="../media/image28.emf"/></Relationships>
</file>

<file path=ppt/slides/_rels/slide2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6.xml"/><Relationship Id="rId5" Type="http://schemas.openxmlformats.org/officeDocument/2006/relationships/chart" Target="../charts/chart269.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27.xml"/><Relationship Id="rId4" Type="http://schemas.openxmlformats.org/officeDocument/2006/relationships/image" Target="../media/image28.emf"/></Relationships>
</file>

<file path=ppt/slides/_rels/slide2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7.xml"/><Relationship Id="rId5" Type="http://schemas.openxmlformats.org/officeDocument/2006/relationships/chart" Target="../charts/chart270.xml"/><Relationship Id="rId4" Type="http://schemas.openxmlformats.org/officeDocument/2006/relationships/image" Target="../media/image28.emf"/></Relationships>
</file>

<file path=ppt/slides/_rels/slide2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8.xml"/><Relationship Id="rId5" Type="http://schemas.openxmlformats.org/officeDocument/2006/relationships/chart" Target="../charts/chart271.xml"/><Relationship Id="rId4" Type="http://schemas.openxmlformats.org/officeDocument/2006/relationships/image" Target="../media/image28.emf"/></Relationships>
</file>

<file path=ppt/slides/_rels/slide2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9.xml"/><Relationship Id="rId5" Type="http://schemas.openxmlformats.org/officeDocument/2006/relationships/chart" Target="../charts/chart272.xml"/><Relationship Id="rId4" Type="http://schemas.openxmlformats.org/officeDocument/2006/relationships/image" Target="../media/image28.emf"/></Relationships>
</file>

<file path=ppt/slides/_rels/slide2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0.xml"/><Relationship Id="rId5" Type="http://schemas.openxmlformats.org/officeDocument/2006/relationships/chart" Target="../charts/chart273.xml"/><Relationship Id="rId4" Type="http://schemas.openxmlformats.org/officeDocument/2006/relationships/image" Target="../media/image28.emf"/></Relationships>
</file>

<file path=ppt/slides/_rels/slide2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1.xml"/><Relationship Id="rId5" Type="http://schemas.openxmlformats.org/officeDocument/2006/relationships/chart" Target="../charts/chart274.xml"/><Relationship Id="rId4" Type="http://schemas.openxmlformats.org/officeDocument/2006/relationships/image" Target="../media/image28.emf"/></Relationships>
</file>

<file path=ppt/slides/_rels/slide2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2.xml"/><Relationship Id="rId5" Type="http://schemas.openxmlformats.org/officeDocument/2006/relationships/chart" Target="../charts/chart275.xml"/><Relationship Id="rId4" Type="http://schemas.openxmlformats.org/officeDocument/2006/relationships/image" Target="../media/image28.emf"/></Relationships>
</file>

<file path=ppt/slides/_rels/slide2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3.xml"/><Relationship Id="rId5" Type="http://schemas.openxmlformats.org/officeDocument/2006/relationships/chart" Target="../charts/chart276.xml"/><Relationship Id="rId4" Type="http://schemas.openxmlformats.org/officeDocument/2006/relationships/image" Target="../media/image28.emf"/></Relationships>
</file>

<file path=ppt/slides/_rels/slide2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4.xml"/><Relationship Id="rId5" Type="http://schemas.openxmlformats.org/officeDocument/2006/relationships/chart" Target="../charts/chart277.xml"/><Relationship Id="rId4" Type="http://schemas.openxmlformats.org/officeDocument/2006/relationships/image" Target="../media/image28.emf"/></Relationships>
</file>

<file path=ppt/slides/_rels/slide2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5.xml"/><Relationship Id="rId5" Type="http://schemas.openxmlformats.org/officeDocument/2006/relationships/chart" Target="../charts/chart278.xml"/><Relationship Id="rId4" Type="http://schemas.openxmlformats.org/officeDocument/2006/relationships/image" Target="../media/image28.emf"/></Relationships>
</file>

<file path=ppt/slides/_rels/slide2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6.xml"/><Relationship Id="rId5" Type="http://schemas.openxmlformats.org/officeDocument/2006/relationships/chart" Target="../charts/chart279.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28.xml"/><Relationship Id="rId4" Type="http://schemas.openxmlformats.org/officeDocument/2006/relationships/image" Target="../media/image28.emf"/></Relationships>
</file>

<file path=ppt/slides/_rels/slide2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7.xml"/><Relationship Id="rId5" Type="http://schemas.openxmlformats.org/officeDocument/2006/relationships/chart" Target="../charts/chart280.xml"/><Relationship Id="rId4" Type="http://schemas.openxmlformats.org/officeDocument/2006/relationships/image" Target="../media/image28.emf"/></Relationships>
</file>

<file path=ppt/slides/_rels/slide2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8.xml"/><Relationship Id="rId5" Type="http://schemas.openxmlformats.org/officeDocument/2006/relationships/chart" Target="../charts/chart281.xml"/><Relationship Id="rId4" Type="http://schemas.openxmlformats.org/officeDocument/2006/relationships/image" Target="../media/image28.emf"/></Relationships>
</file>

<file path=ppt/slides/_rels/slide2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9.xml"/><Relationship Id="rId5" Type="http://schemas.openxmlformats.org/officeDocument/2006/relationships/chart" Target="../charts/chart282.xml"/><Relationship Id="rId4" Type="http://schemas.openxmlformats.org/officeDocument/2006/relationships/image" Target="../media/image28.emf"/></Relationships>
</file>

<file path=ppt/slides/_rels/slide2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0.xml"/><Relationship Id="rId5" Type="http://schemas.openxmlformats.org/officeDocument/2006/relationships/chart" Target="../charts/chart283.xml"/><Relationship Id="rId4" Type="http://schemas.openxmlformats.org/officeDocument/2006/relationships/image" Target="../media/image28.emf"/></Relationships>
</file>

<file path=ppt/slides/_rels/slide2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1.xml"/><Relationship Id="rId5" Type="http://schemas.openxmlformats.org/officeDocument/2006/relationships/chart" Target="../charts/chart284.xml"/><Relationship Id="rId4" Type="http://schemas.openxmlformats.org/officeDocument/2006/relationships/image" Target="../media/image28.emf"/></Relationships>
</file>

<file path=ppt/slides/_rels/slide2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2.xml"/><Relationship Id="rId5" Type="http://schemas.openxmlformats.org/officeDocument/2006/relationships/chart" Target="../charts/chart285.xml"/><Relationship Id="rId4" Type="http://schemas.openxmlformats.org/officeDocument/2006/relationships/image" Target="../media/image28.emf"/></Relationships>
</file>

<file path=ppt/slides/_rels/slide2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3.xml"/><Relationship Id="rId5" Type="http://schemas.openxmlformats.org/officeDocument/2006/relationships/chart" Target="../charts/chart286.xml"/><Relationship Id="rId4" Type="http://schemas.openxmlformats.org/officeDocument/2006/relationships/image" Target="../media/image28.emf"/></Relationships>
</file>

<file path=ppt/slides/_rels/slide2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4.xml"/><Relationship Id="rId5" Type="http://schemas.openxmlformats.org/officeDocument/2006/relationships/chart" Target="../charts/chart287.xml"/><Relationship Id="rId4" Type="http://schemas.openxmlformats.org/officeDocument/2006/relationships/image" Target="../media/image28.emf"/></Relationships>
</file>

<file path=ppt/slides/_rels/slide2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5.xml"/><Relationship Id="rId5" Type="http://schemas.openxmlformats.org/officeDocument/2006/relationships/chart" Target="../charts/chart288.xml"/><Relationship Id="rId4" Type="http://schemas.openxmlformats.org/officeDocument/2006/relationships/image" Target="../media/image28.emf"/></Relationships>
</file>

<file path=ppt/slides/_rels/slide2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6.xml"/><Relationship Id="rId5" Type="http://schemas.openxmlformats.org/officeDocument/2006/relationships/chart" Target="../charts/chart289.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29.xml"/><Relationship Id="rId4" Type="http://schemas.openxmlformats.org/officeDocument/2006/relationships/image" Target="../media/image28.emf"/></Relationships>
</file>

<file path=ppt/slides/_rels/slide2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7.xml"/><Relationship Id="rId5" Type="http://schemas.openxmlformats.org/officeDocument/2006/relationships/chart" Target="../charts/chart290.xml"/><Relationship Id="rId4" Type="http://schemas.openxmlformats.org/officeDocument/2006/relationships/image" Target="../media/image28.emf"/></Relationships>
</file>

<file path=ppt/slides/_rels/slide2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8.xml"/><Relationship Id="rId5" Type="http://schemas.openxmlformats.org/officeDocument/2006/relationships/chart" Target="../charts/chart291.xml"/><Relationship Id="rId4" Type="http://schemas.openxmlformats.org/officeDocument/2006/relationships/image" Target="../media/image28.emf"/></Relationships>
</file>

<file path=ppt/slides/_rels/slide2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9.xml"/><Relationship Id="rId5" Type="http://schemas.openxmlformats.org/officeDocument/2006/relationships/chart" Target="../charts/chart292.xml"/><Relationship Id="rId4" Type="http://schemas.openxmlformats.org/officeDocument/2006/relationships/image" Target="../media/image28.emf"/></Relationships>
</file>

<file path=ppt/slides/_rels/slide2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0.xml"/><Relationship Id="rId5" Type="http://schemas.openxmlformats.org/officeDocument/2006/relationships/chart" Target="../charts/chart293.xml"/><Relationship Id="rId4" Type="http://schemas.openxmlformats.org/officeDocument/2006/relationships/image" Target="../media/image28.emf"/></Relationships>
</file>

<file path=ppt/slides/_rels/slide2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1.xml"/><Relationship Id="rId5" Type="http://schemas.openxmlformats.org/officeDocument/2006/relationships/chart" Target="../charts/chart294.xml"/><Relationship Id="rId4" Type="http://schemas.openxmlformats.org/officeDocument/2006/relationships/image" Target="../media/image28.emf"/></Relationships>
</file>

<file path=ppt/slides/_rels/slide2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2.xml"/><Relationship Id="rId5" Type="http://schemas.openxmlformats.org/officeDocument/2006/relationships/chart" Target="../charts/chart295.xml"/><Relationship Id="rId4" Type="http://schemas.openxmlformats.org/officeDocument/2006/relationships/image" Target="../media/image28.emf"/></Relationships>
</file>

<file path=ppt/slides/_rels/slide2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3.xml"/><Relationship Id="rId5" Type="http://schemas.openxmlformats.org/officeDocument/2006/relationships/chart" Target="../charts/chart296.xml"/><Relationship Id="rId4" Type="http://schemas.openxmlformats.org/officeDocument/2006/relationships/image" Target="../media/image28.emf"/></Relationships>
</file>

<file path=ppt/slides/_rels/slide2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4.xml"/><Relationship Id="rId5" Type="http://schemas.openxmlformats.org/officeDocument/2006/relationships/chart" Target="../charts/chart297.xml"/><Relationship Id="rId4" Type="http://schemas.openxmlformats.org/officeDocument/2006/relationships/image" Target="../media/image28.emf"/></Relationships>
</file>

<file path=ppt/slides/_rels/slide2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5.xml"/><Relationship Id="rId5" Type="http://schemas.openxmlformats.org/officeDocument/2006/relationships/chart" Target="../charts/chart298.xml"/><Relationship Id="rId4" Type="http://schemas.openxmlformats.org/officeDocument/2006/relationships/image" Target="../media/image28.emf"/></Relationships>
</file>

<file path=ppt/slides/_rels/slide2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6.xml"/><Relationship Id="rId5" Type="http://schemas.openxmlformats.org/officeDocument/2006/relationships/chart" Target="../charts/chart299.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30.xml"/><Relationship Id="rId4" Type="http://schemas.openxmlformats.org/officeDocument/2006/relationships/image" Target="../media/image28.emf"/></Relationships>
</file>

<file path=ppt/slides/_rels/slide3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7.xml"/><Relationship Id="rId5" Type="http://schemas.openxmlformats.org/officeDocument/2006/relationships/chart" Target="../charts/chart300.xml"/><Relationship Id="rId4" Type="http://schemas.openxmlformats.org/officeDocument/2006/relationships/image" Target="../media/image28.emf"/></Relationships>
</file>

<file path=ppt/slides/_rels/slide3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8.xml"/><Relationship Id="rId5" Type="http://schemas.openxmlformats.org/officeDocument/2006/relationships/chart" Target="../charts/chart301.xml"/><Relationship Id="rId4" Type="http://schemas.openxmlformats.org/officeDocument/2006/relationships/image" Target="../media/image28.emf"/></Relationships>
</file>

<file path=ppt/slides/_rels/slide3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9.xml"/><Relationship Id="rId5" Type="http://schemas.openxmlformats.org/officeDocument/2006/relationships/chart" Target="../charts/chart302.xml"/><Relationship Id="rId4" Type="http://schemas.openxmlformats.org/officeDocument/2006/relationships/image" Target="../media/image28.emf"/></Relationships>
</file>

<file path=ppt/slides/_rels/slide3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0.xml"/><Relationship Id="rId5" Type="http://schemas.openxmlformats.org/officeDocument/2006/relationships/chart" Target="../charts/chart303.xml"/><Relationship Id="rId4" Type="http://schemas.openxmlformats.org/officeDocument/2006/relationships/image" Target="../media/image28.emf"/></Relationships>
</file>

<file path=ppt/slides/_rels/slide3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1.xml"/><Relationship Id="rId5" Type="http://schemas.openxmlformats.org/officeDocument/2006/relationships/chart" Target="../charts/chart304.xml"/><Relationship Id="rId4" Type="http://schemas.openxmlformats.org/officeDocument/2006/relationships/image" Target="../media/image28.emf"/></Relationships>
</file>

<file path=ppt/slides/_rels/slide3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2.xml"/><Relationship Id="rId5" Type="http://schemas.openxmlformats.org/officeDocument/2006/relationships/chart" Target="../charts/chart305.xml"/><Relationship Id="rId4" Type="http://schemas.openxmlformats.org/officeDocument/2006/relationships/image" Target="../media/image28.emf"/></Relationships>
</file>

<file path=ppt/slides/_rels/slide3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3.xml"/><Relationship Id="rId5" Type="http://schemas.openxmlformats.org/officeDocument/2006/relationships/chart" Target="../charts/chart306.xml"/><Relationship Id="rId4" Type="http://schemas.openxmlformats.org/officeDocument/2006/relationships/image" Target="../media/image28.emf"/></Relationships>
</file>

<file path=ppt/slides/_rels/slide3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4.xml"/><Relationship Id="rId5" Type="http://schemas.openxmlformats.org/officeDocument/2006/relationships/chart" Target="../charts/chart307.xml"/><Relationship Id="rId4" Type="http://schemas.openxmlformats.org/officeDocument/2006/relationships/image" Target="../media/image28.emf"/></Relationships>
</file>

<file path=ppt/slides/_rels/slide3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5.xml"/><Relationship Id="rId5" Type="http://schemas.openxmlformats.org/officeDocument/2006/relationships/chart" Target="../charts/chart308.xml"/><Relationship Id="rId4" Type="http://schemas.openxmlformats.org/officeDocument/2006/relationships/image" Target="../media/image28.emf"/></Relationships>
</file>

<file path=ppt/slides/_rels/slide3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6.xml"/><Relationship Id="rId5" Type="http://schemas.openxmlformats.org/officeDocument/2006/relationships/chart" Target="../charts/chart309.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31.xml"/><Relationship Id="rId4" Type="http://schemas.openxmlformats.org/officeDocument/2006/relationships/image" Target="../media/image28.emf"/></Relationships>
</file>

<file path=ppt/slides/_rels/slide3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7.xml"/><Relationship Id="rId5" Type="http://schemas.openxmlformats.org/officeDocument/2006/relationships/chart" Target="../charts/chart310.xml"/><Relationship Id="rId4" Type="http://schemas.openxmlformats.org/officeDocument/2006/relationships/image" Target="../media/image28.emf"/></Relationships>
</file>

<file path=ppt/slides/_rels/slide3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8.xml"/><Relationship Id="rId5" Type="http://schemas.openxmlformats.org/officeDocument/2006/relationships/chart" Target="../charts/chart311.xml"/><Relationship Id="rId4" Type="http://schemas.openxmlformats.org/officeDocument/2006/relationships/image" Target="../media/image28.emf"/></Relationships>
</file>

<file path=ppt/slides/_rels/slide3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9.xml"/><Relationship Id="rId5" Type="http://schemas.openxmlformats.org/officeDocument/2006/relationships/chart" Target="../charts/chart312.xml"/><Relationship Id="rId4" Type="http://schemas.openxmlformats.org/officeDocument/2006/relationships/image" Target="../media/image28.emf"/></Relationships>
</file>

<file path=ppt/slides/_rels/slide3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0.xml"/><Relationship Id="rId5" Type="http://schemas.openxmlformats.org/officeDocument/2006/relationships/chart" Target="../charts/chart313.xml"/><Relationship Id="rId4" Type="http://schemas.openxmlformats.org/officeDocument/2006/relationships/image" Target="../media/image28.emf"/></Relationships>
</file>

<file path=ppt/slides/_rels/slide3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1.xml"/><Relationship Id="rId5" Type="http://schemas.openxmlformats.org/officeDocument/2006/relationships/chart" Target="../charts/chart314.xml"/><Relationship Id="rId4" Type="http://schemas.openxmlformats.org/officeDocument/2006/relationships/image" Target="../media/image28.emf"/></Relationships>
</file>

<file path=ppt/slides/_rels/slide3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2.xml"/><Relationship Id="rId5" Type="http://schemas.openxmlformats.org/officeDocument/2006/relationships/chart" Target="../charts/chart315.xml"/><Relationship Id="rId4" Type="http://schemas.openxmlformats.org/officeDocument/2006/relationships/image" Target="../media/image28.emf"/></Relationships>
</file>

<file path=ppt/slides/_rels/slide3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3.xml"/><Relationship Id="rId5" Type="http://schemas.openxmlformats.org/officeDocument/2006/relationships/chart" Target="../charts/chart316.xml"/><Relationship Id="rId4" Type="http://schemas.openxmlformats.org/officeDocument/2006/relationships/image" Target="../media/image28.emf"/></Relationships>
</file>

<file path=ppt/slides/_rels/slide3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4.xml"/><Relationship Id="rId5" Type="http://schemas.openxmlformats.org/officeDocument/2006/relationships/chart" Target="../charts/chart317.xml"/><Relationship Id="rId4" Type="http://schemas.openxmlformats.org/officeDocument/2006/relationships/image" Target="../media/image28.emf"/></Relationships>
</file>

<file path=ppt/slides/_rels/slide3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5.xml"/><Relationship Id="rId5" Type="http://schemas.openxmlformats.org/officeDocument/2006/relationships/chart" Target="../charts/chart318.xml"/><Relationship Id="rId4" Type="http://schemas.openxmlformats.org/officeDocument/2006/relationships/image" Target="../media/image28.emf"/></Relationships>
</file>

<file path=ppt/slides/_rels/slide3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6.xml"/><Relationship Id="rId5" Type="http://schemas.openxmlformats.org/officeDocument/2006/relationships/chart" Target="../charts/chart319.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32.xml"/><Relationship Id="rId4" Type="http://schemas.openxmlformats.org/officeDocument/2006/relationships/image" Target="../media/image28.emf"/></Relationships>
</file>

<file path=ppt/slides/_rels/slide3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7.xml"/><Relationship Id="rId5" Type="http://schemas.openxmlformats.org/officeDocument/2006/relationships/chart" Target="../charts/chart320.xml"/><Relationship Id="rId4" Type="http://schemas.openxmlformats.org/officeDocument/2006/relationships/image" Target="../media/image28.emf"/></Relationships>
</file>

<file path=ppt/slides/_rels/slide3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8.xml"/><Relationship Id="rId5" Type="http://schemas.openxmlformats.org/officeDocument/2006/relationships/chart" Target="../charts/chart321.xml"/><Relationship Id="rId4" Type="http://schemas.openxmlformats.org/officeDocument/2006/relationships/image" Target="../media/image28.emf"/></Relationships>
</file>

<file path=ppt/slides/_rels/slide3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9.xml"/><Relationship Id="rId5" Type="http://schemas.openxmlformats.org/officeDocument/2006/relationships/chart" Target="../charts/chart322.xml"/><Relationship Id="rId4" Type="http://schemas.openxmlformats.org/officeDocument/2006/relationships/image" Target="../media/image28.emf"/></Relationships>
</file>

<file path=ppt/slides/_rels/slide3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0.xml"/><Relationship Id="rId5" Type="http://schemas.openxmlformats.org/officeDocument/2006/relationships/chart" Target="../charts/chart323.xml"/><Relationship Id="rId4" Type="http://schemas.openxmlformats.org/officeDocument/2006/relationships/image" Target="../media/image28.emf"/></Relationships>
</file>

<file path=ppt/slides/_rels/slide3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1.xml"/><Relationship Id="rId5" Type="http://schemas.openxmlformats.org/officeDocument/2006/relationships/chart" Target="../charts/chart324.xml"/><Relationship Id="rId4" Type="http://schemas.openxmlformats.org/officeDocument/2006/relationships/image" Target="../media/image28.emf"/></Relationships>
</file>

<file path=ppt/slides/_rels/slide3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2.xml"/><Relationship Id="rId5" Type="http://schemas.openxmlformats.org/officeDocument/2006/relationships/chart" Target="../charts/chart325.xml"/><Relationship Id="rId4" Type="http://schemas.openxmlformats.org/officeDocument/2006/relationships/image" Target="../media/image28.emf"/></Relationships>
</file>

<file path=ppt/slides/_rels/slide3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3.xml"/><Relationship Id="rId5" Type="http://schemas.openxmlformats.org/officeDocument/2006/relationships/chart" Target="../charts/chart326.xml"/><Relationship Id="rId4" Type="http://schemas.openxmlformats.org/officeDocument/2006/relationships/image" Target="../media/image28.emf"/></Relationships>
</file>

<file path=ppt/slides/_rels/slide3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4.xml"/><Relationship Id="rId5" Type="http://schemas.openxmlformats.org/officeDocument/2006/relationships/chart" Target="../charts/chart327.xml"/><Relationship Id="rId4" Type="http://schemas.openxmlformats.org/officeDocument/2006/relationships/image" Target="../media/image28.emf"/></Relationships>
</file>

<file path=ppt/slides/_rels/slide3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5.xml"/><Relationship Id="rId5" Type="http://schemas.openxmlformats.org/officeDocument/2006/relationships/chart" Target="../charts/chart328.xml"/><Relationship Id="rId4" Type="http://schemas.openxmlformats.org/officeDocument/2006/relationships/image" Target="../media/image28.emf"/></Relationships>
</file>

<file path=ppt/slides/_rels/slide3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6.xml"/><Relationship Id="rId5" Type="http://schemas.openxmlformats.org/officeDocument/2006/relationships/chart" Target="../charts/chart329.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chart" Target="../charts/chart33.xml"/><Relationship Id="rId4" Type="http://schemas.openxmlformats.org/officeDocument/2006/relationships/image" Target="../media/image28.emf"/></Relationships>
</file>

<file path=ppt/slides/_rels/slide3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7.xml"/><Relationship Id="rId5" Type="http://schemas.openxmlformats.org/officeDocument/2006/relationships/chart" Target="../charts/chart330.xml"/><Relationship Id="rId4" Type="http://schemas.openxmlformats.org/officeDocument/2006/relationships/image" Target="../media/image28.emf"/></Relationships>
</file>

<file path=ppt/slides/_rels/slide3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8.xml"/><Relationship Id="rId5" Type="http://schemas.openxmlformats.org/officeDocument/2006/relationships/chart" Target="../charts/chart331.xml"/><Relationship Id="rId4" Type="http://schemas.openxmlformats.org/officeDocument/2006/relationships/image" Target="../media/image28.emf"/></Relationships>
</file>

<file path=ppt/slides/_rels/slide3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9.xml"/><Relationship Id="rId5" Type="http://schemas.openxmlformats.org/officeDocument/2006/relationships/chart" Target="../charts/chart332.xml"/><Relationship Id="rId4" Type="http://schemas.openxmlformats.org/officeDocument/2006/relationships/image" Target="../media/image28.emf"/></Relationships>
</file>

<file path=ppt/slides/_rels/slide3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0.xml"/><Relationship Id="rId5" Type="http://schemas.openxmlformats.org/officeDocument/2006/relationships/chart" Target="../charts/chart333.xml"/><Relationship Id="rId4" Type="http://schemas.openxmlformats.org/officeDocument/2006/relationships/image" Target="../media/image28.emf"/></Relationships>
</file>

<file path=ppt/slides/_rels/slide3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1.xml"/><Relationship Id="rId5" Type="http://schemas.openxmlformats.org/officeDocument/2006/relationships/chart" Target="../charts/chart334.xml"/><Relationship Id="rId4" Type="http://schemas.openxmlformats.org/officeDocument/2006/relationships/image" Target="../media/image28.emf"/></Relationships>
</file>

<file path=ppt/slides/_rels/slide3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2.xml"/><Relationship Id="rId5" Type="http://schemas.openxmlformats.org/officeDocument/2006/relationships/chart" Target="../charts/chart335.xml"/><Relationship Id="rId4" Type="http://schemas.openxmlformats.org/officeDocument/2006/relationships/image" Target="../media/image28.emf"/></Relationships>
</file>

<file path=ppt/slides/_rels/slide3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3.xml"/><Relationship Id="rId5" Type="http://schemas.openxmlformats.org/officeDocument/2006/relationships/chart" Target="../charts/chart336.xml"/><Relationship Id="rId4" Type="http://schemas.openxmlformats.org/officeDocument/2006/relationships/image" Target="../media/image28.emf"/></Relationships>
</file>

<file path=ppt/slides/_rels/slide3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4.xml"/><Relationship Id="rId5" Type="http://schemas.openxmlformats.org/officeDocument/2006/relationships/chart" Target="../charts/chart337.xml"/><Relationship Id="rId4" Type="http://schemas.openxmlformats.org/officeDocument/2006/relationships/image" Target="../media/image28.emf"/></Relationships>
</file>

<file path=ppt/slides/_rels/slide3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5.xml"/><Relationship Id="rId5" Type="http://schemas.openxmlformats.org/officeDocument/2006/relationships/chart" Target="../charts/chart338.xml"/><Relationship Id="rId4" Type="http://schemas.openxmlformats.org/officeDocument/2006/relationships/image" Target="../media/image28.emf"/></Relationships>
</file>

<file path=ppt/slides/_rels/slide3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6.xml"/><Relationship Id="rId5" Type="http://schemas.openxmlformats.org/officeDocument/2006/relationships/chart" Target="../charts/chart339.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34.xml"/><Relationship Id="rId4" Type="http://schemas.openxmlformats.org/officeDocument/2006/relationships/image" Target="../media/image28.emf"/></Relationships>
</file>

<file path=ppt/slides/_rels/slide3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7.xml"/><Relationship Id="rId5" Type="http://schemas.openxmlformats.org/officeDocument/2006/relationships/chart" Target="../charts/chart340.xml"/><Relationship Id="rId4" Type="http://schemas.openxmlformats.org/officeDocument/2006/relationships/image" Target="../media/image28.emf"/></Relationships>
</file>

<file path=ppt/slides/_rels/slide3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8.xml"/><Relationship Id="rId5" Type="http://schemas.openxmlformats.org/officeDocument/2006/relationships/chart" Target="../charts/chart341.xml"/><Relationship Id="rId4" Type="http://schemas.openxmlformats.org/officeDocument/2006/relationships/image" Target="../media/image28.emf"/></Relationships>
</file>

<file path=ppt/slides/_rels/slide3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9.xml"/><Relationship Id="rId5" Type="http://schemas.openxmlformats.org/officeDocument/2006/relationships/chart" Target="../charts/chart342.xml"/><Relationship Id="rId4" Type="http://schemas.openxmlformats.org/officeDocument/2006/relationships/image" Target="../media/image28.emf"/></Relationships>
</file>

<file path=ppt/slides/_rels/slide3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0.xml"/><Relationship Id="rId5" Type="http://schemas.openxmlformats.org/officeDocument/2006/relationships/chart" Target="../charts/chart343.xml"/><Relationship Id="rId4" Type="http://schemas.openxmlformats.org/officeDocument/2006/relationships/image" Target="../media/image28.emf"/></Relationships>
</file>

<file path=ppt/slides/_rels/slide3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1.xml"/><Relationship Id="rId5" Type="http://schemas.openxmlformats.org/officeDocument/2006/relationships/chart" Target="../charts/chart344.xml"/><Relationship Id="rId4" Type="http://schemas.openxmlformats.org/officeDocument/2006/relationships/image" Target="../media/image28.emf"/></Relationships>
</file>

<file path=ppt/slides/_rels/slide3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2.xml"/><Relationship Id="rId5" Type="http://schemas.openxmlformats.org/officeDocument/2006/relationships/chart" Target="../charts/chart345.xml"/><Relationship Id="rId4" Type="http://schemas.openxmlformats.org/officeDocument/2006/relationships/image" Target="../media/image28.emf"/></Relationships>
</file>

<file path=ppt/slides/_rels/slide3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3.xml"/><Relationship Id="rId5" Type="http://schemas.openxmlformats.org/officeDocument/2006/relationships/chart" Target="../charts/chart346.xml"/><Relationship Id="rId4" Type="http://schemas.openxmlformats.org/officeDocument/2006/relationships/image" Target="../media/image28.emf"/></Relationships>
</file>

<file path=ppt/slides/_rels/slide3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4.xml"/><Relationship Id="rId5" Type="http://schemas.openxmlformats.org/officeDocument/2006/relationships/chart" Target="../charts/chart347.xml"/><Relationship Id="rId4" Type="http://schemas.openxmlformats.org/officeDocument/2006/relationships/image" Target="../media/image28.emf"/></Relationships>
</file>

<file path=ppt/slides/_rels/slide3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5.xml"/><Relationship Id="rId5" Type="http://schemas.openxmlformats.org/officeDocument/2006/relationships/chart" Target="../charts/chart348.xml"/><Relationship Id="rId4" Type="http://schemas.openxmlformats.org/officeDocument/2006/relationships/image" Target="../media/image28.emf"/></Relationships>
</file>

<file path=ppt/slides/_rels/slide3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6.xml"/><Relationship Id="rId5" Type="http://schemas.openxmlformats.org/officeDocument/2006/relationships/chart" Target="../charts/chart349.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xml"/><Relationship Id="rId5" Type="http://schemas.openxmlformats.org/officeDocument/2006/relationships/chart" Target="../charts/chart35.xml"/><Relationship Id="rId4" Type="http://schemas.openxmlformats.org/officeDocument/2006/relationships/image" Target="../media/image28.emf"/></Relationships>
</file>

<file path=ppt/slides/_rels/slide3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7.xml"/><Relationship Id="rId5" Type="http://schemas.openxmlformats.org/officeDocument/2006/relationships/chart" Target="../charts/chart350.xml"/><Relationship Id="rId4" Type="http://schemas.openxmlformats.org/officeDocument/2006/relationships/image" Target="../media/image28.emf"/></Relationships>
</file>

<file path=ppt/slides/_rels/slide3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8.xml"/><Relationship Id="rId5" Type="http://schemas.openxmlformats.org/officeDocument/2006/relationships/chart" Target="../charts/chart351.xml"/><Relationship Id="rId4" Type="http://schemas.openxmlformats.org/officeDocument/2006/relationships/image" Target="../media/image28.emf"/></Relationships>
</file>

<file path=ppt/slides/_rels/slide3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9.xml"/><Relationship Id="rId5" Type="http://schemas.openxmlformats.org/officeDocument/2006/relationships/chart" Target="../charts/chart352.xml"/><Relationship Id="rId4" Type="http://schemas.openxmlformats.org/officeDocument/2006/relationships/image" Target="../media/image28.emf"/></Relationships>
</file>

<file path=ppt/slides/_rels/slide3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0.xml"/><Relationship Id="rId5" Type="http://schemas.openxmlformats.org/officeDocument/2006/relationships/chart" Target="../charts/chart353.xml"/><Relationship Id="rId4" Type="http://schemas.openxmlformats.org/officeDocument/2006/relationships/image" Target="../media/image28.emf"/></Relationships>
</file>

<file path=ppt/slides/_rels/slide3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1.xml"/><Relationship Id="rId5" Type="http://schemas.openxmlformats.org/officeDocument/2006/relationships/chart" Target="../charts/chart354.xml"/><Relationship Id="rId4" Type="http://schemas.openxmlformats.org/officeDocument/2006/relationships/image" Target="../media/image28.emf"/></Relationships>
</file>

<file path=ppt/slides/_rels/slide3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2.xml"/><Relationship Id="rId5" Type="http://schemas.openxmlformats.org/officeDocument/2006/relationships/chart" Target="../charts/chart355.xml"/><Relationship Id="rId4" Type="http://schemas.openxmlformats.org/officeDocument/2006/relationships/image" Target="../media/image28.emf"/></Relationships>
</file>

<file path=ppt/slides/_rels/slide3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3.xml"/><Relationship Id="rId5" Type="http://schemas.openxmlformats.org/officeDocument/2006/relationships/chart" Target="../charts/chart356.xml"/><Relationship Id="rId4" Type="http://schemas.openxmlformats.org/officeDocument/2006/relationships/image" Target="../media/image28.emf"/></Relationships>
</file>

<file path=ppt/slides/_rels/slide3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4.xml"/><Relationship Id="rId5" Type="http://schemas.openxmlformats.org/officeDocument/2006/relationships/chart" Target="../charts/chart357.xml"/><Relationship Id="rId4" Type="http://schemas.openxmlformats.org/officeDocument/2006/relationships/image" Target="../media/image28.emf"/></Relationships>
</file>

<file path=ppt/slides/_rels/slide3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5.xml"/><Relationship Id="rId5" Type="http://schemas.openxmlformats.org/officeDocument/2006/relationships/chart" Target="../charts/chart358.xml"/><Relationship Id="rId4" Type="http://schemas.openxmlformats.org/officeDocument/2006/relationships/image" Target="../media/image28.emf"/></Relationships>
</file>

<file path=ppt/slides/_rels/slide3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6.xml"/><Relationship Id="rId5" Type="http://schemas.openxmlformats.org/officeDocument/2006/relationships/chart" Target="../charts/chart359.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xml"/><Relationship Id="rId5" Type="http://schemas.openxmlformats.org/officeDocument/2006/relationships/chart" Target="../charts/chart36.xml"/><Relationship Id="rId4" Type="http://schemas.openxmlformats.org/officeDocument/2006/relationships/image" Target="../media/image28.emf"/></Relationships>
</file>

<file path=ppt/slides/_rels/slide3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7.xml"/><Relationship Id="rId5" Type="http://schemas.openxmlformats.org/officeDocument/2006/relationships/chart" Target="../charts/chart360.xml"/><Relationship Id="rId4" Type="http://schemas.openxmlformats.org/officeDocument/2006/relationships/image" Target="../media/image28.emf"/></Relationships>
</file>

<file path=ppt/slides/_rels/slide3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8.xml"/><Relationship Id="rId5" Type="http://schemas.openxmlformats.org/officeDocument/2006/relationships/chart" Target="../charts/chart361.xml"/><Relationship Id="rId4" Type="http://schemas.openxmlformats.org/officeDocument/2006/relationships/image" Target="../media/image28.emf"/></Relationships>
</file>

<file path=ppt/slides/_rels/slide3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9.xml"/><Relationship Id="rId5" Type="http://schemas.openxmlformats.org/officeDocument/2006/relationships/chart" Target="../charts/chart362.xml"/><Relationship Id="rId4" Type="http://schemas.openxmlformats.org/officeDocument/2006/relationships/image" Target="../media/image28.emf"/></Relationships>
</file>

<file path=ppt/slides/_rels/slide3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0.xml"/><Relationship Id="rId5" Type="http://schemas.openxmlformats.org/officeDocument/2006/relationships/chart" Target="../charts/chart363.xml"/><Relationship Id="rId4" Type="http://schemas.openxmlformats.org/officeDocument/2006/relationships/image" Target="../media/image28.emf"/></Relationships>
</file>

<file path=ppt/slides/_rels/slide3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1.xml"/><Relationship Id="rId5" Type="http://schemas.openxmlformats.org/officeDocument/2006/relationships/chart" Target="../charts/chart364.xml"/><Relationship Id="rId4" Type="http://schemas.openxmlformats.org/officeDocument/2006/relationships/image" Target="../media/image28.emf"/></Relationships>
</file>

<file path=ppt/slides/_rels/slide3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2.xml"/><Relationship Id="rId5" Type="http://schemas.openxmlformats.org/officeDocument/2006/relationships/chart" Target="../charts/chart365.xml"/><Relationship Id="rId4" Type="http://schemas.openxmlformats.org/officeDocument/2006/relationships/image" Target="../media/image28.emf"/></Relationships>
</file>

<file path=ppt/slides/_rels/slide3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3.xml"/><Relationship Id="rId5" Type="http://schemas.openxmlformats.org/officeDocument/2006/relationships/chart" Target="../charts/chart366.xml"/><Relationship Id="rId4" Type="http://schemas.openxmlformats.org/officeDocument/2006/relationships/image" Target="../media/image28.emf"/></Relationships>
</file>

<file path=ppt/slides/_rels/slide3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4.xml"/><Relationship Id="rId5" Type="http://schemas.openxmlformats.org/officeDocument/2006/relationships/chart" Target="../charts/chart367.xml"/><Relationship Id="rId4" Type="http://schemas.openxmlformats.org/officeDocument/2006/relationships/image" Target="../media/image28.emf"/></Relationships>
</file>

<file path=ppt/slides/_rels/slide3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5.xml"/><Relationship Id="rId5" Type="http://schemas.openxmlformats.org/officeDocument/2006/relationships/chart" Target="../charts/chart368.xml"/><Relationship Id="rId4" Type="http://schemas.openxmlformats.org/officeDocument/2006/relationships/image" Target="../media/image28.emf"/></Relationships>
</file>

<file path=ppt/slides/_rels/slide3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6.xml"/><Relationship Id="rId5" Type="http://schemas.openxmlformats.org/officeDocument/2006/relationships/chart" Target="../charts/chart369.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xml"/><Relationship Id="rId5" Type="http://schemas.openxmlformats.org/officeDocument/2006/relationships/chart" Target="../charts/chart37.xml"/><Relationship Id="rId4" Type="http://schemas.openxmlformats.org/officeDocument/2006/relationships/image" Target="../media/image28.emf"/></Relationships>
</file>

<file path=ppt/slides/_rels/slide3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7.xml"/><Relationship Id="rId5" Type="http://schemas.openxmlformats.org/officeDocument/2006/relationships/chart" Target="../charts/chart370.xml"/><Relationship Id="rId4" Type="http://schemas.openxmlformats.org/officeDocument/2006/relationships/image" Target="../media/image28.emf"/></Relationships>
</file>

<file path=ppt/slides/_rels/slide3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8.xml"/><Relationship Id="rId5" Type="http://schemas.openxmlformats.org/officeDocument/2006/relationships/chart" Target="../charts/chart371.xml"/><Relationship Id="rId4" Type="http://schemas.openxmlformats.org/officeDocument/2006/relationships/image" Target="../media/image28.emf"/></Relationships>
</file>

<file path=ppt/slides/_rels/slide3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9.xml"/><Relationship Id="rId5" Type="http://schemas.openxmlformats.org/officeDocument/2006/relationships/chart" Target="../charts/chart372.xml"/><Relationship Id="rId4" Type="http://schemas.openxmlformats.org/officeDocument/2006/relationships/image" Target="../media/image28.emf"/></Relationships>
</file>

<file path=ppt/slides/_rels/slide3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0.xml"/><Relationship Id="rId5" Type="http://schemas.openxmlformats.org/officeDocument/2006/relationships/chart" Target="../charts/chart373.xml"/><Relationship Id="rId4" Type="http://schemas.openxmlformats.org/officeDocument/2006/relationships/image" Target="../media/image28.emf"/></Relationships>
</file>

<file path=ppt/slides/_rels/slide3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1.xml"/><Relationship Id="rId5" Type="http://schemas.openxmlformats.org/officeDocument/2006/relationships/chart" Target="../charts/chart374.xml"/><Relationship Id="rId4" Type="http://schemas.openxmlformats.org/officeDocument/2006/relationships/image" Target="../media/image28.emf"/></Relationships>
</file>

<file path=ppt/slides/_rels/slide3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2.xml"/><Relationship Id="rId5" Type="http://schemas.openxmlformats.org/officeDocument/2006/relationships/chart" Target="../charts/chart375.xml"/><Relationship Id="rId4" Type="http://schemas.openxmlformats.org/officeDocument/2006/relationships/image" Target="../media/image28.emf"/></Relationships>
</file>

<file path=ppt/slides/_rels/slide3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3.xml"/><Relationship Id="rId5" Type="http://schemas.openxmlformats.org/officeDocument/2006/relationships/chart" Target="../charts/chart376.xml"/><Relationship Id="rId4" Type="http://schemas.openxmlformats.org/officeDocument/2006/relationships/image" Target="../media/image28.emf"/></Relationships>
</file>

<file path=ppt/slides/_rels/slide3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4.xml"/><Relationship Id="rId5" Type="http://schemas.openxmlformats.org/officeDocument/2006/relationships/chart" Target="../charts/chart377.xml"/><Relationship Id="rId4" Type="http://schemas.openxmlformats.org/officeDocument/2006/relationships/image" Target="../media/image28.emf"/></Relationships>
</file>

<file path=ppt/slides/_rels/slide3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5.xml"/><Relationship Id="rId5" Type="http://schemas.openxmlformats.org/officeDocument/2006/relationships/chart" Target="../charts/chart378.xml"/><Relationship Id="rId4" Type="http://schemas.openxmlformats.org/officeDocument/2006/relationships/image" Target="../media/image28.emf"/></Relationships>
</file>

<file path=ppt/slides/_rels/slide3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6.xml"/><Relationship Id="rId5" Type="http://schemas.openxmlformats.org/officeDocument/2006/relationships/chart" Target="../charts/chart379.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xml"/><Relationship Id="rId5" Type="http://schemas.openxmlformats.org/officeDocument/2006/relationships/chart" Target="../charts/chart38.xml"/><Relationship Id="rId4" Type="http://schemas.openxmlformats.org/officeDocument/2006/relationships/image" Target="../media/image28.emf"/></Relationships>
</file>

<file path=ppt/slides/_rels/slide3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7.xml"/><Relationship Id="rId5" Type="http://schemas.openxmlformats.org/officeDocument/2006/relationships/chart" Target="../charts/chart380.xml"/><Relationship Id="rId4" Type="http://schemas.openxmlformats.org/officeDocument/2006/relationships/image" Target="../media/image28.emf"/></Relationships>
</file>

<file path=ppt/slides/_rels/slide3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8.xml"/><Relationship Id="rId5" Type="http://schemas.openxmlformats.org/officeDocument/2006/relationships/chart" Target="../charts/chart381.xml"/><Relationship Id="rId4" Type="http://schemas.openxmlformats.org/officeDocument/2006/relationships/image" Target="../media/image28.emf"/></Relationships>
</file>

<file path=ppt/slides/_rels/slide3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9.xml"/><Relationship Id="rId5" Type="http://schemas.openxmlformats.org/officeDocument/2006/relationships/chart" Target="../charts/chart382.xml"/><Relationship Id="rId4" Type="http://schemas.openxmlformats.org/officeDocument/2006/relationships/image" Target="../media/image28.emf"/></Relationships>
</file>

<file path=ppt/slides/_rels/slide3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0.xml"/><Relationship Id="rId5" Type="http://schemas.openxmlformats.org/officeDocument/2006/relationships/chart" Target="../charts/chart383.xml"/><Relationship Id="rId4" Type="http://schemas.openxmlformats.org/officeDocument/2006/relationships/image" Target="../media/image28.emf"/></Relationships>
</file>

<file path=ppt/slides/_rels/slide3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1.xml"/><Relationship Id="rId5" Type="http://schemas.openxmlformats.org/officeDocument/2006/relationships/chart" Target="../charts/chart384.xml"/><Relationship Id="rId4" Type="http://schemas.openxmlformats.org/officeDocument/2006/relationships/image" Target="../media/image28.emf"/></Relationships>
</file>

<file path=ppt/slides/_rels/slide3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2.xml"/><Relationship Id="rId5" Type="http://schemas.openxmlformats.org/officeDocument/2006/relationships/chart" Target="../charts/chart385.xml"/><Relationship Id="rId4" Type="http://schemas.openxmlformats.org/officeDocument/2006/relationships/image" Target="../media/image28.emf"/></Relationships>
</file>

<file path=ppt/slides/_rels/slide3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3.xml"/><Relationship Id="rId5" Type="http://schemas.openxmlformats.org/officeDocument/2006/relationships/chart" Target="../charts/chart386.xml"/><Relationship Id="rId4" Type="http://schemas.openxmlformats.org/officeDocument/2006/relationships/image" Target="../media/image28.emf"/></Relationships>
</file>

<file path=ppt/slides/_rels/slide3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4.xml"/><Relationship Id="rId5" Type="http://schemas.openxmlformats.org/officeDocument/2006/relationships/chart" Target="../charts/chart387.xml"/><Relationship Id="rId4" Type="http://schemas.openxmlformats.org/officeDocument/2006/relationships/image" Target="../media/image28.emf"/></Relationships>
</file>

<file path=ppt/slides/_rels/slide3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5.xml"/><Relationship Id="rId5" Type="http://schemas.openxmlformats.org/officeDocument/2006/relationships/chart" Target="../charts/chart388.xml"/><Relationship Id="rId4" Type="http://schemas.openxmlformats.org/officeDocument/2006/relationships/image" Target="../media/image28.emf"/></Relationships>
</file>

<file path=ppt/slides/_rels/slide3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6.xml"/><Relationship Id="rId5" Type="http://schemas.openxmlformats.org/officeDocument/2006/relationships/chart" Target="../charts/chart389.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xml"/><Relationship Id="rId5" Type="http://schemas.openxmlformats.org/officeDocument/2006/relationships/chart" Target="../charts/chart39.xml"/><Relationship Id="rId4" Type="http://schemas.openxmlformats.org/officeDocument/2006/relationships/image" Target="../media/image28.emf"/></Relationships>
</file>

<file path=ppt/slides/_rels/slide3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7.xml"/><Relationship Id="rId5" Type="http://schemas.openxmlformats.org/officeDocument/2006/relationships/chart" Target="../charts/chart390.xml"/><Relationship Id="rId4" Type="http://schemas.openxmlformats.org/officeDocument/2006/relationships/image" Target="../media/image28.emf"/></Relationships>
</file>

<file path=ppt/slides/_rels/slide3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8.xml"/><Relationship Id="rId5" Type="http://schemas.openxmlformats.org/officeDocument/2006/relationships/chart" Target="../charts/chart391.xml"/><Relationship Id="rId4" Type="http://schemas.openxmlformats.org/officeDocument/2006/relationships/image" Target="../media/image28.emf"/></Relationships>
</file>

<file path=ppt/slides/_rels/slide3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9.xml"/><Relationship Id="rId5" Type="http://schemas.openxmlformats.org/officeDocument/2006/relationships/chart" Target="../charts/chart392.xml"/><Relationship Id="rId4" Type="http://schemas.openxmlformats.org/officeDocument/2006/relationships/image" Target="../media/image28.emf"/></Relationships>
</file>

<file path=ppt/slides/_rels/slide3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0.xml"/><Relationship Id="rId5" Type="http://schemas.openxmlformats.org/officeDocument/2006/relationships/chart" Target="../charts/chart393.xml"/><Relationship Id="rId4" Type="http://schemas.openxmlformats.org/officeDocument/2006/relationships/image" Target="../media/image28.emf"/></Relationships>
</file>

<file path=ppt/slides/_rels/slide3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1.xml"/><Relationship Id="rId5" Type="http://schemas.openxmlformats.org/officeDocument/2006/relationships/chart" Target="../charts/chart394.xml"/><Relationship Id="rId4" Type="http://schemas.openxmlformats.org/officeDocument/2006/relationships/image" Target="../media/image28.emf"/></Relationships>
</file>

<file path=ppt/slides/_rels/slide3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2.xml"/><Relationship Id="rId5" Type="http://schemas.openxmlformats.org/officeDocument/2006/relationships/chart" Target="../charts/chart395.xml"/><Relationship Id="rId4" Type="http://schemas.openxmlformats.org/officeDocument/2006/relationships/image" Target="../media/image28.emf"/></Relationships>
</file>

<file path=ppt/slides/_rels/slide3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3.xml"/><Relationship Id="rId5" Type="http://schemas.openxmlformats.org/officeDocument/2006/relationships/chart" Target="../charts/chart396.xml"/><Relationship Id="rId4" Type="http://schemas.openxmlformats.org/officeDocument/2006/relationships/image" Target="../media/image28.emf"/></Relationships>
</file>

<file path=ppt/slides/_rels/slide3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4.xml"/><Relationship Id="rId5" Type="http://schemas.openxmlformats.org/officeDocument/2006/relationships/chart" Target="../charts/chart397.xml"/><Relationship Id="rId4" Type="http://schemas.openxmlformats.org/officeDocument/2006/relationships/image" Target="../media/image28.emf"/></Relationships>
</file>

<file path=ppt/slides/_rels/slide3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5.xml"/><Relationship Id="rId5" Type="http://schemas.openxmlformats.org/officeDocument/2006/relationships/chart" Target="../charts/chart398.xml"/><Relationship Id="rId4" Type="http://schemas.openxmlformats.org/officeDocument/2006/relationships/image" Target="../media/image28.emf"/></Relationships>
</file>

<file path=ppt/slides/_rels/slide3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6.xml"/><Relationship Id="rId5" Type="http://schemas.openxmlformats.org/officeDocument/2006/relationships/chart" Target="../charts/chart399.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xml"/><Relationship Id="rId5" Type="http://schemas.openxmlformats.org/officeDocument/2006/relationships/chart" Target="../charts/chart40.xml"/><Relationship Id="rId4" Type="http://schemas.openxmlformats.org/officeDocument/2006/relationships/image" Target="../media/image28.emf"/></Relationships>
</file>

<file path=ppt/slides/_rels/slide4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7.xml"/><Relationship Id="rId5" Type="http://schemas.openxmlformats.org/officeDocument/2006/relationships/chart" Target="../charts/chart400.xml"/><Relationship Id="rId4" Type="http://schemas.openxmlformats.org/officeDocument/2006/relationships/image" Target="../media/image28.emf"/></Relationships>
</file>

<file path=ppt/slides/_rels/slide4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8.xml"/><Relationship Id="rId5" Type="http://schemas.openxmlformats.org/officeDocument/2006/relationships/chart" Target="../charts/chart401.xml"/><Relationship Id="rId4" Type="http://schemas.openxmlformats.org/officeDocument/2006/relationships/image" Target="../media/image28.emf"/></Relationships>
</file>

<file path=ppt/slides/_rels/slide4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9.xml"/><Relationship Id="rId5" Type="http://schemas.openxmlformats.org/officeDocument/2006/relationships/chart" Target="../charts/chart402.xml"/><Relationship Id="rId4" Type="http://schemas.openxmlformats.org/officeDocument/2006/relationships/image" Target="../media/image28.emf"/></Relationships>
</file>

<file path=ppt/slides/_rels/slide4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0.xml"/><Relationship Id="rId5" Type="http://schemas.openxmlformats.org/officeDocument/2006/relationships/chart" Target="../charts/chart403.xml"/><Relationship Id="rId4" Type="http://schemas.openxmlformats.org/officeDocument/2006/relationships/image" Target="../media/image28.emf"/></Relationships>
</file>

<file path=ppt/slides/_rels/slide4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1.xml"/><Relationship Id="rId5" Type="http://schemas.openxmlformats.org/officeDocument/2006/relationships/chart" Target="../charts/chart404.xml"/><Relationship Id="rId4" Type="http://schemas.openxmlformats.org/officeDocument/2006/relationships/image" Target="../media/image28.emf"/></Relationships>
</file>

<file path=ppt/slides/_rels/slide4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2.xml"/><Relationship Id="rId5" Type="http://schemas.openxmlformats.org/officeDocument/2006/relationships/chart" Target="../charts/chart405.xml"/><Relationship Id="rId4" Type="http://schemas.openxmlformats.org/officeDocument/2006/relationships/image" Target="../media/image28.emf"/></Relationships>
</file>

<file path=ppt/slides/_rels/slide4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3.xml"/><Relationship Id="rId5" Type="http://schemas.openxmlformats.org/officeDocument/2006/relationships/chart" Target="../charts/chart406.xml"/><Relationship Id="rId4" Type="http://schemas.openxmlformats.org/officeDocument/2006/relationships/image" Target="../media/image28.emf"/></Relationships>
</file>

<file path=ppt/slides/_rels/slide4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4.xml"/><Relationship Id="rId5" Type="http://schemas.openxmlformats.org/officeDocument/2006/relationships/chart" Target="../charts/chart407.xml"/><Relationship Id="rId4" Type="http://schemas.openxmlformats.org/officeDocument/2006/relationships/image" Target="../media/image28.emf"/></Relationships>
</file>

<file path=ppt/slides/_rels/slide4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5.xml"/><Relationship Id="rId5" Type="http://schemas.openxmlformats.org/officeDocument/2006/relationships/chart" Target="../charts/chart408.xml"/><Relationship Id="rId4" Type="http://schemas.openxmlformats.org/officeDocument/2006/relationships/image" Target="../media/image28.emf"/></Relationships>
</file>

<file path=ppt/slides/_rels/slide4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6.xml"/><Relationship Id="rId5" Type="http://schemas.openxmlformats.org/officeDocument/2006/relationships/chart" Target="../charts/chart409.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xml"/><Relationship Id="rId5" Type="http://schemas.openxmlformats.org/officeDocument/2006/relationships/chart" Target="../charts/chart41.xml"/><Relationship Id="rId4" Type="http://schemas.openxmlformats.org/officeDocument/2006/relationships/image" Target="../media/image28.emf"/></Relationships>
</file>

<file path=ppt/slides/_rels/slide4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7.xml"/><Relationship Id="rId5" Type="http://schemas.openxmlformats.org/officeDocument/2006/relationships/chart" Target="../charts/chart410.xml"/><Relationship Id="rId4" Type="http://schemas.openxmlformats.org/officeDocument/2006/relationships/image" Target="../media/image28.emf"/></Relationships>
</file>

<file path=ppt/slides/_rels/slide4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8.xml"/><Relationship Id="rId5" Type="http://schemas.openxmlformats.org/officeDocument/2006/relationships/chart" Target="../charts/chart411.xml"/><Relationship Id="rId4" Type="http://schemas.openxmlformats.org/officeDocument/2006/relationships/image" Target="../media/image28.emf"/></Relationships>
</file>

<file path=ppt/slides/_rels/slide4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9.xml"/><Relationship Id="rId5" Type="http://schemas.openxmlformats.org/officeDocument/2006/relationships/chart" Target="../charts/chart412.xml"/><Relationship Id="rId4" Type="http://schemas.openxmlformats.org/officeDocument/2006/relationships/image" Target="../media/image28.emf"/></Relationships>
</file>

<file path=ppt/slides/_rels/slide4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0.xml"/><Relationship Id="rId5" Type="http://schemas.openxmlformats.org/officeDocument/2006/relationships/chart" Target="../charts/chart413.xml"/><Relationship Id="rId4" Type="http://schemas.openxmlformats.org/officeDocument/2006/relationships/image" Target="../media/image28.emf"/></Relationships>
</file>

<file path=ppt/slides/_rels/slide4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1.xml"/><Relationship Id="rId5" Type="http://schemas.openxmlformats.org/officeDocument/2006/relationships/chart" Target="../charts/chart414.xml"/><Relationship Id="rId4" Type="http://schemas.openxmlformats.org/officeDocument/2006/relationships/image" Target="../media/image28.emf"/></Relationships>
</file>

<file path=ppt/slides/_rels/slide4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2.xml"/><Relationship Id="rId5" Type="http://schemas.openxmlformats.org/officeDocument/2006/relationships/chart" Target="../charts/chart415.xml"/><Relationship Id="rId4" Type="http://schemas.openxmlformats.org/officeDocument/2006/relationships/image" Target="../media/image28.emf"/></Relationships>
</file>

<file path=ppt/slides/_rels/slide4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3.xml"/><Relationship Id="rId5" Type="http://schemas.openxmlformats.org/officeDocument/2006/relationships/chart" Target="../charts/chart416.xml"/><Relationship Id="rId4" Type="http://schemas.openxmlformats.org/officeDocument/2006/relationships/image" Target="../media/image28.emf"/></Relationships>
</file>

<file path=ppt/slides/_rels/slide4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4.xml"/><Relationship Id="rId5" Type="http://schemas.openxmlformats.org/officeDocument/2006/relationships/chart" Target="../charts/chart417.xml"/><Relationship Id="rId4" Type="http://schemas.openxmlformats.org/officeDocument/2006/relationships/image" Target="../media/image28.emf"/></Relationships>
</file>

<file path=ppt/slides/_rels/slide4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5.xml"/><Relationship Id="rId5" Type="http://schemas.openxmlformats.org/officeDocument/2006/relationships/chart" Target="../charts/chart418.xml"/><Relationship Id="rId4" Type="http://schemas.openxmlformats.org/officeDocument/2006/relationships/image" Target="../media/image28.emf"/></Relationships>
</file>

<file path=ppt/slides/_rels/slide4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6.xml"/><Relationship Id="rId5" Type="http://schemas.openxmlformats.org/officeDocument/2006/relationships/chart" Target="../charts/chart419.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xml"/><Relationship Id="rId5" Type="http://schemas.openxmlformats.org/officeDocument/2006/relationships/chart" Target="../charts/chart42.xml"/><Relationship Id="rId4" Type="http://schemas.openxmlformats.org/officeDocument/2006/relationships/image" Target="../media/image28.emf"/></Relationships>
</file>

<file path=ppt/slides/_rels/slide4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7.xml"/><Relationship Id="rId5" Type="http://schemas.openxmlformats.org/officeDocument/2006/relationships/chart" Target="../charts/chart420.xml"/><Relationship Id="rId4" Type="http://schemas.openxmlformats.org/officeDocument/2006/relationships/image" Target="../media/image28.emf"/></Relationships>
</file>

<file path=ppt/slides/_rels/slide4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8.xml"/><Relationship Id="rId5" Type="http://schemas.openxmlformats.org/officeDocument/2006/relationships/chart" Target="../charts/chart421.xml"/><Relationship Id="rId4" Type="http://schemas.openxmlformats.org/officeDocument/2006/relationships/image" Target="../media/image28.emf"/></Relationships>
</file>

<file path=ppt/slides/_rels/slide4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9.xml"/><Relationship Id="rId5" Type="http://schemas.openxmlformats.org/officeDocument/2006/relationships/chart" Target="../charts/chart422.xml"/><Relationship Id="rId4" Type="http://schemas.openxmlformats.org/officeDocument/2006/relationships/image" Target="../media/image28.emf"/></Relationships>
</file>

<file path=ppt/slides/_rels/slide4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0.xml"/><Relationship Id="rId5" Type="http://schemas.openxmlformats.org/officeDocument/2006/relationships/chart" Target="../charts/chart423.xml"/><Relationship Id="rId4" Type="http://schemas.openxmlformats.org/officeDocument/2006/relationships/image" Target="../media/image28.emf"/></Relationships>
</file>

<file path=ppt/slides/_rels/slide4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1.xml"/><Relationship Id="rId5" Type="http://schemas.openxmlformats.org/officeDocument/2006/relationships/chart" Target="../charts/chart424.xml"/><Relationship Id="rId4" Type="http://schemas.openxmlformats.org/officeDocument/2006/relationships/image" Target="../media/image28.emf"/></Relationships>
</file>

<file path=ppt/slides/_rels/slide4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2.xml"/><Relationship Id="rId5" Type="http://schemas.openxmlformats.org/officeDocument/2006/relationships/chart" Target="../charts/chart425.xml"/><Relationship Id="rId4" Type="http://schemas.openxmlformats.org/officeDocument/2006/relationships/image" Target="../media/image28.emf"/></Relationships>
</file>

<file path=ppt/slides/_rels/slide4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3.xml"/><Relationship Id="rId5" Type="http://schemas.openxmlformats.org/officeDocument/2006/relationships/chart" Target="../charts/chart426.xml"/><Relationship Id="rId4" Type="http://schemas.openxmlformats.org/officeDocument/2006/relationships/image" Target="../media/image28.emf"/></Relationships>
</file>

<file path=ppt/slides/_rels/slide4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4.xml"/><Relationship Id="rId5" Type="http://schemas.openxmlformats.org/officeDocument/2006/relationships/chart" Target="../charts/chart427.xml"/><Relationship Id="rId4" Type="http://schemas.openxmlformats.org/officeDocument/2006/relationships/image" Target="../media/image28.emf"/></Relationships>
</file>

<file path=ppt/slides/_rels/slide4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5.xml"/><Relationship Id="rId5" Type="http://schemas.openxmlformats.org/officeDocument/2006/relationships/chart" Target="../charts/chart428.xml"/><Relationship Id="rId4" Type="http://schemas.openxmlformats.org/officeDocument/2006/relationships/image" Target="../media/image28.emf"/></Relationships>
</file>

<file path=ppt/slides/_rels/slide4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6.xml"/><Relationship Id="rId5" Type="http://schemas.openxmlformats.org/officeDocument/2006/relationships/chart" Target="../charts/chart429.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xml"/><Relationship Id="rId5" Type="http://schemas.openxmlformats.org/officeDocument/2006/relationships/chart" Target="../charts/chart43.xml"/><Relationship Id="rId4" Type="http://schemas.openxmlformats.org/officeDocument/2006/relationships/image" Target="../media/image28.emf"/></Relationships>
</file>

<file path=ppt/slides/_rels/slide4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7.xml"/><Relationship Id="rId5" Type="http://schemas.openxmlformats.org/officeDocument/2006/relationships/chart" Target="../charts/chart430.xml"/><Relationship Id="rId4" Type="http://schemas.openxmlformats.org/officeDocument/2006/relationships/image" Target="../media/image28.emf"/></Relationships>
</file>

<file path=ppt/slides/_rels/slide4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8.xml"/><Relationship Id="rId5" Type="http://schemas.openxmlformats.org/officeDocument/2006/relationships/chart" Target="../charts/chart431.xml"/><Relationship Id="rId4" Type="http://schemas.openxmlformats.org/officeDocument/2006/relationships/image" Target="../media/image28.emf"/></Relationships>
</file>

<file path=ppt/slides/_rels/slide4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9.xml"/><Relationship Id="rId5" Type="http://schemas.openxmlformats.org/officeDocument/2006/relationships/chart" Target="../charts/chart432.xml"/><Relationship Id="rId4" Type="http://schemas.openxmlformats.org/officeDocument/2006/relationships/image" Target="../media/image28.emf"/></Relationships>
</file>

<file path=ppt/slides/_rels/slide4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0.xml"/><Relationship Id="rId5" Type="http://schemas.openxmlformats.org/officeDocument/2006/relationships/chart" Target="../charts/chart433.xml"/><Relationship Id="rId4" Type="http://schemas.openxmlformats.org/officeDocument/2006/relationships/image" Target="../media/image28.emf"/></Relationships>
</file>

<file path=ppt/slides/_rels/slide4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1.xml"/><Relationship Id="rId5" Type="http://schemas.openxmlformats.org/officeDocument/2006/relationships/chart" Target="../charts/chart434.xml"/><Relationship Id="rId4" Type="http://schemas.openxmlformats.org/officeDocument/2006/relationships/image" Target="../media/image28.emf"/></Relationships>
</file>

<file path=ppt/slides/_rels/slide4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2.xml"/><Relationship Id="rId5" Type="http://schemas.openxmlformats.org/officeDocument/2006/relationships/chart" Target="../charts/chart435.xml"/><Relationship Id="rId4" Type="http://schemas.openxmlformats.org/officeDocument/2006/relationships/image" Target="../media/image28.emf"/></Relationships>
</file>

<file path=ppt/slides/_rels/slide4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3.xml"/><Relationship Id="rId5" Type="http://schemas.openxmlformats.org/officeDocument/2006/relationships/chart" Target="../charts/chart436.xml"/><Relationship Id="rId4" Type="http://schemas.openxmlformats.org/officeDocument/2006/relationships/image" Target="../media/image28.emf"/></Relationships>
</file>

<file path=ppt/slides/_rels/slide4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4.xml"/><Relationship Id="rId5" Type="http://schemas.openxmlformats.org/officeDocument/2006/relationships/chart" Target="../charts/chart437.xml"/><Relationship Id="rId4" Type="http://schemas.openxmlformats.org/officeDocument/2006/relationships/image" Target="../media/image28.emf"/></Relationships>
</file>

<file path=ppt/slides/_rels/slide4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5.xml"/><Relationship Id="rId5" Type="http://schemas.openxmlformats.org/officeDocument/2006/relationships/chart" Target="../charts/chart438.xml"/><Relationship Id="rId4" Type="http://schemas.openxmlformats.org/officeDocument/2006/relationships/image" Target="../media/image28.emf"/></Relationships>
</file>

<file path=ppt/slides/_rels/slide4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6.xml"/><Relationship Id="rId5" Type="http://schemas.openxmlformats.org/officeDocument/2006/relationships/chart" Target="../charts/chart439.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xml"/><Relationship Id="rId5" Type="http://schemas.openxmlformats.org/officeDocument/2006/relationships/chart" Target="../charts/chart44.xml"/><Relationship Id="rId4" Type="http://schemas.openxmlformats.org/officeDocument/2006/relationships/image" Target="../media/image28.emf"/></Relationships>
</file>

<file path=ppt/slides/_rels/slide4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7.xml"/><Relationship Id="rId5" Type="http://schemas.openxmlformats.org/officeDocument/2006/relationships/chart" Target="../charts/chart440.xml"/><Relationship Id="rId4" Type="http://schemas.openxmlformats.org/officeDocument/2006/relationships/image" Target="../media/image28.emf"/></Relationships>
</file>

<file path=ppt/slides/_rels/slide4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8.xml"/><Relationship Id="rId5" Type="http://schemas.openxmlformats.org/officeDocument/2006/relationships/chart" Target="../charts/chart441.xml"/><Relationship Id="rId4" Type="http://schemas.openxmlformats.org/officeDocument/2006/relationships/image" Target="../media/image28.emf"/></Relationships>
</file>

<file path=ppt/slides/_rels/slide4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9.xml"/><Relationship Id="rId5" Type="http://schemas.openxmlformats.org/officeDocument/2006/relationships/chart" Target="../charts/chart442.xml"/><Relationship Id="rId4" Type="http://schemas.openxmlformats.org/officeDocument/2006/relationships/image" Target="../media/image28.emf"/></Relationships>
</file>

<file path=ppt/slides/_rels/slide4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0.xml"/><Relationship Id="rId5" Type="http://schemas.openxmlformats.org/officeDocument/2006/relationships/chart" Target="../charts/chart443.xml"/><Relationship Id="rId4" Type="http://schemas.openxmlformats.org/officeDocument/2006/relationships/image" Target="../media/image28.emf"/></Relationships>
</file>

<file path=ppt/slides/_rels/slide4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1.xml"/><Relationship Id="rId5" Type="http://schemas.openxmlformats.org/officeDocument/2006/relationships/chart" Target="../charts/chart444.xml"/><Relationship Id="rId4" Type="http://schemas.openxmlformats.org/officeDocument/2006/relationships/image" Target="../media/image28.emf"/></Relationships>
</file>

<file path=ppt/slides/_rels/slide4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2.xml"/><Relationship Id="rId5" Type="http://schemas.openxmlformats.org/officeDocument/2006/relationships/chart" Target="../charts/chart445.xml"/><Relationship Id="rId4" Type="http://schemas.openxmlformats.org/officeDocument/2006/relationships/image" Target="../media/image28.emf"/></Relationships>
</file>

<file path=ppt/slides/_rels/slide4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3.xml"/><Relationship Id="rId5" Type="http://schemas.openxmlformats.org/officeDocument/2006/relationships/chart" Target="../charts/chart446.xml"/><Relationship Id="rId4" Type="http://schemas.openxmlformats.org/officeDocument/2006/relationships/image" Target="../media/image28.emf"/></Relationships>
</file>

<file path=ppt/slides/_rels/slide4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4.xml"/><Relationship Id="rId5" Type="http://schemas.openxmlformats.org/officeDocument/2006/relationships/chart" Target="../charts/chart447.xml"/><Relationship Id="rId4" Type="http://schemas.openxmlformats.org/officeDocument/2006/relationships/image" Target="../media/image28.emf"/></Relationships>
</file>

<file path=ppt/slides/_rels/slide4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5.xml"/><Relationship Id="rId5" Type="http://schemas.openxmlformats.org/officeDocument/2006/relationships/chart" Target="../charts/chart448.xml"/><Relationship Id="rId4" Type="http://schemas.openxmlformats.org/officeDocument/2006/relationships/image" Target="../media/image28.emf"/></Relationships>
</file>

<file path=ppt/slides/_rels/slide4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6.xml"/><Relationship Id="rId5" Type="http://schemas.openxmlformats.org/officeDocument/2006/relationships/chart" Target="../charts/chart449.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xml"/><Relationship Id="rId5" Type="http://schemas.openxmlformats.org/officeDocument/2006/relationships/chart" Target="../charts/chart45.xml"/><Relationship Id="rId4" Type="http://schemas.openxmlformats.org/officeDocument/2006/relationships/image" Target="../media/image28.emf"/></Relationships>
</file>

<file path=ppt/slides/_rels/slide4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7.xml"/><Relationship Id="rId5" Type="http://schemas.openxmlformats.org/officeDocument/2006/relationships/chart" Target="../charts/chart450.xml"/><Relationship Id="rId4" Type="http://schemas.openxmlformats.org/officeDocument/2006/relationships/image" Target="../media/image28.emf"/></Relationships>
</file>

<file path=ppt/slides/_rels/slide4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8.xml"/><Relationship Id="rId5" Type="http://schemas.openxmlformats.org/officeDocument/2006/relationships/chart" Target="../charts/chart451.xml"/><Relationship Id="rId4" Type="http://schemas.openxmlformats.org/officeDocument/2006/relationships/image" Target="../media/image28.emf"/></Relationships>
</file>

<file path=ppt/slides/_rels/slide4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9.xml"/><Relationship Id="rId5" Type="http://schemas.openxmlformats.org/officeDocument/2006/relationships/chart" Target="../charts/chart452.xml"/><Relationship Id="rId4" Type="http://schemas.openxmlformats.org/officeDocument/2006/relationships/image" Target="../media/image28.emf"/></Relationships>
</file>

<file path=ppt/slides/_rels/slide4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0.xml"/><Relationship Id="rId5" Type="http://schemas.openxmlformats.org/officeDocument/2006/relationships/chart" Target="../charts/chart453.xml"/><Relationship Id="rId4" Type="http://schemas.openxmlformats.org/officeDocument/2006/relationships/image" Target="../media/image28.emf"/></Relationships>
</file>

<file path=ppt/slides/_rels/slide4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1.xml"/><Relationship Id="rId5" Type="http://schemas.openxmlformats.org/officeDocument/2006/relationships/chart" Target="../charts/chart454.xml"/><Relationship Id="rId4" Type="http://schemas.openxmlformats.org/officeDocument/2006/relationships/image" Target="../media/image28.emf"/></Relationships>
</file>

<file path=ppt/slides/_rels/slide4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2.xml"/><Relationship Id="rId5" Type="http://schemas.openxmlformats.org/officeDocument/2006/relationships/chart" Target="../charts/chart455.xml"/><Relationship Id="rId4" Type="http://schemas.openxmlformats.org/officeDocument/2006/relationships/image" Target="../media/image28.emf"/></Relationships>
</file>

<file path=ppt/slides/_rels/slide4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3.xml"/><Relationship Id="rId5" Type="http://schemas.openxmlformats.org/officeDocument/2006/relationships/chart" Target="../charts/chart456.xml"/><Relationship Id="rId4" Type="http://schemas.openxmlformats.org/officeDocument/2006/relationships/image" Target="../media/image28.emf"/></Relationships>
</file>

<file path=ppt/slides/_rels/slide4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4.xml"/><Relationship Id="rId5" Type="http://schemas.openxmlformats.org/officeDocument/2006/relationships/chart" Target="../charts/chart457.xml"/><Relationship Id="rId4" Type="http://schemas.openxmlformats.org/officeDocument/2006/relationships/image" Target="../media/image28.emf"/></Relationships>
</file>

<file path=ppt/slides/_rels/slide4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5.xml"/><Relationship Id="rId5" Type="http://schemas.openxmlformats.org/officeDocument/2006/relationships/chart" Target="../charts/chart458.xml"/><Relationship Id="rId4" Type="http://schemas.openxmlformats.org/officeDocument/2006/relationships/image" Target="../media/image28.emf"/></Relationships>
</file>

<file path=ppt/slides/_rels/slide4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6.xml"/><Relationship Id="rId5" Type="http://schemas.openxmlformats.org/officeDocument/2006/relationships/chart" Target="../charts/chart459.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xml"/><Relationship Id="rId5" Type="http://schemas.openxmlformats.org/officeDocument/2006/relationships/chart" Target="../charts/chart46.xml"/><Relationship Id="rId4" Type="http://schemas.openxmlformats.org/officeDocument/2006/relationships/image" Target="../media/image28.emf"/></Relationships>
</file>

<file path=ppt/slides/_rels/slide4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7.xml"/><Relationship Id="rId5" Type="http://schemas.openxmlformats.org/officeDocument/2006/relationships/chart" Target="../charts/chart460.xml"/><Relationship Id="rId4" Type="http://schemas.openxmlformats.org/officeDocument/2006/relationships/image" Target="../media/image28.emf"/></Relationships>
</file>

<file path=ppt/slides/_rels/slide4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8.xml"/><Relationship Id="rId5" Type="http://schemas.openxmlformats.org/officeDocument/2006/relationships/chart" Target="../charts/chart461.xml"/><Relationship Id="rId4" Type="http://schemas.openxmlformats.org/officeDocument/2006/relationships/image" Target="../media/image28.emf"/></Relationships>
</file>

<file path=ppt/slides/_rels/slide4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9.xml"/><Relationship Id="rId5" Type="http://schemas.openxmlformats.org/officeDocument/2006/relationships/chart" Target="../charts/chart462.xml"/><Relationship Id="rId4" Type="http://schemas.openxmlformats.org/officeDocument/2006/relationships/image" Target="../media/image28.emf"/></Relationships>
</file>

<file path=ppt/slides/_rels/slide4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0.xml"/><Relationship Id="rId5" Type="http://schemas.openxmlformats.org/officeDocument/2006/relationships/chart" Target="../charts/chart463.xml"/><Relationship Id="rId4" Type="http://schemas.openxmlformats.org/officeDocument/2006/relationships/image" Target="../media/image28.emf"/></Relationships>
</file>

<file path=ppt/slides/_rels/slide4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1.xml"/><Relationship Id="rId5" Type="http://schemas.openxmlformats.org/officeDocument/2006/relationships/chart" Target="../charts/chart464.xml"/><Relationship Id="rId4" Type="http://schemas.openxmlformats.org/officeDocument/2006/relationships/image" Target="../media/image28.emf"/></Relationships>
</file>

<file path=ppt/slides/_rels/slide4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2.xml"/><Relationship Id="rId5" Type="http://schemas.openxmlformats.org/officeDocument/2006/relationships/chart" Target="../charts/chart465.xml"/><Relationship Id="rId4" Type="http://schemas.openxmlformats.org/officeDocument/2006/relationships/image" Target="../media/image28.emf"/></Relationships>
</file>

<file path=ppt/slides/_rels/slide4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3.xml"/><Relationship Id="rId5" Type="http://schemas.openxmlformats.org/officeDocument/2006/relationships/chart" Target="../charts/chart466.xml"/><Relationship Id="rId4" Type="http://schemas.openxmlformats.org/officeDocument/2006/relationships/image" Target="../media/image28.emf"/></Relationships>
</file>

<file path=ppt/slides/_rels/slide4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4.xml"/><Relationship Id="rId5" Type="http://schemas.openxmlformats.org/officeDocument/2006/relationships/chart" Target="../charts/chart467.xml"/><Relationship Id="rId4" Type="http://schemas.openxmlformats.org/officeDocument/2006/relationships/image" Target="../media/image28.emf"/></Relationships>
</file>

<file path=ppt/slides/_rels/slide4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5.xml"/><Relationship Id="rId5" Type="http://schemas.openxmlformats.org/officeDocument/2006/relationships/chart" Target="../charts/chart468.xml"/><Relationship Id="rId4" Type="http://schemas.openxmlformats.org/officeDocument/2006/relationships/image" Target="../media/image28.emf"/></Relationships>
</file>

<file path=ppt/slides/_rels/slide4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6.xml"/><Relationship Id="rId5" Type="http://schemas.openxmlformats.org/officeDocument/2006/relationships/chart" Target="../charts/chart469.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xml"/><Relationship Id="rId5" Type="http://schemas.openxmlformats.org/officeDocument/2006/relationships/chart" Target="../charts/chart47.xml"/><Relationship Id="rId4" Type="http://schemas.openxmlformats.org/officeDocument/2006/relationships/image" Target="../media/image28.emf"/></Relationships>
</file>

<file path=ppt/slides/_rels/slide4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7.xml"/><Relationship Id="rId5" Type="http://schemas.openxmlformats.org/officeDocument/2006/relationships/chart" Target="../charts/chart470.xml"/><Relationship Id="rId4" Type="http://schemas.openxmlformats.org/officeDocument/2006/relationships/image" Target="../media/image28.emf"/></Relationships>
</file>

<file path=ppt/slides/_rels/slide4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8.xml"/><Relationship Id="rId5" Type="http://schemas.openxmlformats.org/officeDocument/2006/relationships/chart" Target="../charts/chart471.xml"/><Relationship Id="rId4" Type="http://schemas.openxmlformats.org/officeDocument/2006/relationships/image" Target="../media/image28.emf"/></Relationships>
</file>

<file path=ppt/slides/_rels/slide4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9.xml"/><Relationship Id="rId5" Type="http://schemas.openxmlformats.org/officeDocument/2006/relationships/chart" Target="../charts/chart472.xml"/><Relationship Id="rId4" Type="http://schemas.openxmlformats.org/officeDocument/2006/relationships/image" Target="../media/image28.emf"/></Relationships>
</file>

<file path=ppt/slides/_rels/slide4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0.xml"/><Relationship Id="rId5" Type="http://schemas.openxmlformats.org/officeDocument/2006/relationships/chart" Target="../charts/chart473.xml"/><Relationship Id="rId4" Type="http://schemas.openxmlformats.org/officeDocument/2006/relationships/image" Target="../media/image28.emf"/></Relationships>
</file>

<file path=ppt/slides/_rels/slide4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1.xml"/><Relationship Id="rId5" Type="http://schemas.openxmlformats.org/officeDocument/2006/relationships/chart" Target="../charts/chart474.xml"/><Relationship Id="rId4" Type="http://schemas.openxmlformats.org/officeDocument/2006/relationships/image" Target="../media/image28.emf"/></Relationships>
</file>

<file path=ppt/slides/_rels/slide4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2.xml"/><Relationship Id="rId5" Type="http://schemas.openxmlformats.org/officeDocument/2006/relationships/chart" Target="../charts/chart475.xml"/><Relationship Id="rId4" Type="http://schemas.openxmlformats.org/officeDocument/2006/relationships/image" Target="../media/image28.emf"/></Relationships>
</file>

<file path=ppt/slides/_rels/slide4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3.xml"/><Relationship Id="rId5" Type="http://schemas.openxmlformats.org/officeDocument/2006/relationships/chart" Target="../charts/chart476.xml"/><Relationship Id="rId4" Type="http://schemas.openxmlformats.org/officeDocument/2006/relationships/image" Target="../media/image28.emf"/></Relationships>
</file>

<file path=ppt/slides/_rels/slide4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4.xml"/><Relationship Id="rId5" Type="http://schemas.openxmlformats.org/officeDocument/2006/relationships/chart" Target="../charts/chart477.xml"/><Relationship Id="rId4" Type="http://schemas.openxmlformats.org/officeDocument/2006/relationships/image" Target="../media/image28.emf"/></Relationships>
</file>

<file path=ppt/slides/_rels/slide4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5.xml"/><Relationship Id="rId5" Type="http://schemas.openxmlformats.org/officeDocument/2006/relationships/chart" Target="../charts/chart478.xml"/><Relationship Id="rId4" Type="http://schemas.openxmlformats.org/officeDocument/2006/relationships/image" Target="../media/image28.emf"/></Relationships>
</file>

<file path=ppt/slides/_rels/slide4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6.xml"/><Relationship Id="rId5" Type="http://schemas.openxmlformats.org/officeDocument/2006/relationships/chart" Target="../charts/chart479.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xml"/><Relationship Id="rId5" Type="http://schemas.openxmlformats.org/officeDocument/2006/relationships/chart" Target="../charts/chart48.xml"/><Relationship Id="rId4" Type="http://schemas.openxmlformats.org/officeDocument/2006/relationships/image" Target="../media/image28.emf"/></Relationships>
</file>

<file path=ppt/slides/_rels/slide4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7.xml"/><Relationship Id="rId5" Type="http://schemas.openxmlformats.org/officeDocument/2006/relationships/chart" Target="../charts/chart480.xml"/><Relationship Id="rId4" Type="http://schemas.openxmlformats.org/officeDocument/2006/relationships/image" Target="../media/image28.emf"/></Relationships>
</file>

<file path=ppt/slides/_rels/slide4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8.xml"/><Relationship Id="rId5" Type="http://schemas.openxmlformats.org/officeDocument/2006/relationships/chart" Target="../charts/chart481.xml"/><Relationship Id="rId4" Type="http://schemas.openxmlformats.org/officeDocument/2006/relationships/image" Target="../media/image28.emf"/></Relationships>
</file>

<file path=ppt/slides/_rels/slide4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9.xml"/><Relationship Id="rId5" Type="http://schemas.openxmlformats.org/officeDocument/2006/relationships/chart" Target="../charts/chart482.xml"/><Relationship Id="rId4" Type="http://schemas.openxmlformats.org/officeDocument/2006/relationships/image" Target="../media/image28.emf"/></Relationships>
</file>

<file path=ppt/slides/_rels/slide4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0.xml"/><Relationship Id="rId5" Type="http://schemas.openxmlformats.org/officeDocument/2006/relationships/chart" Target="../charts/chart483.xml"/><Relationship Id="rId4" Type="http://schemas.openxmlformats.org/officeDocument/2006/relationships/image" Target="../media/image28.emf"/></Relationships>
</file>

<file path=ppt/slides/_rels/slide4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1.xml"/><Relationship Id="rId5" Type="http://schemas.openxmlformats.org/officeDocument/2006/relationships/chart" Target="../charts/chart484.xml"/><Relationship Id="rId4" Type="http://schemas.openxmlformats.org/officeDocument/2006/relationships/image" Target="../media/image28.emf"/></Relationships>
</file>

<file path=ppt/slides/_rels/slide4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2.xml"/><Relationship Id="rId5" Type="http://schemas.openxmlformats.org/officeDocument/2006/relationships/chart" Target="../charts/chart485.xml"/><Relationship Id="rId4" Type="http://schemas.openxmlformats.org/officeDocument/2006/relationships/image" Target="../media/image28.emf"/></Relationships>
</file>

<file path=ppt/slides/_rels/slide4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3.xml"/><Relationship Id="rId5" Type="http://schemas.openxmlformats.org/officeDocument/2006/relationships/chart" Target="../charts/chart486.xml"/><Relationship Id="rId4" Type="http://schemas.openxmlformats.org/officeDocument/2006/relationships/image" Target="../media/image28.emf"/></Relationships>
</file>

<file path=ppt/slides/_rels/slide4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4.xml"/><Relationship Id="rId5" Type="http://schemas.openxmlformats.org/officeDocument/2006/relationships/chart" Target="../charts/chart487.xml"/><Relationship Id="rId4" Type="http://schemas.openxmlformats.org/officeDocument/2006/relationships/image" Target="../media/image28.emf"/></Relationships>
</file>

<file path=ppt/slides/_rels/slide4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5.xml"/><Relationship Id="rId5" Type="http://schemas.openxmlformats.org/officeDocument/2006/relationships/chart" Target="../charts/chart488.xml"/><Relationship Id="rId4" Type="http://schemas.openxmlformats.org/officeDocument/2006/relationships/image" Target="../media/image28.emf"/></Relationships>
</file>

<file path=ppt/slides/_rels/slide4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6.xml"/><Relationship Id="rId5" Type="http://schemas.openxmlformats.org/officeDocument/2006/relationships/chart" Target="../charts/chart489.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xml"/><Relationship Id="rId5" Type="http://schemas.openxmlformats.org/officeDocument/2006/relationships/chart" Target="../charts/chart49.xml"/><Relationship Id="rId4" Type="http://schemas.openxmlformats.org/officeDocument/2006/relationships/image" Target="../media/image28.emf"/></Relationships>
</file>

<file path=ppt/slides/_rels/slide4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7.xml"/><Relationship Id="rId5" Type="http://schemas.openxmlformats.org/officeDocument/2006/relationships/chart" Target="../charts/chart490.xml"/><Relationship Id="rId4" Type="http://schemas.openxmlformats.org/officeDocument/2006/relationships/image" Target="../media/image28.emf"/></Relationships>
</file>

<file path=ppt/slides/_rels/slide4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8.xml"/><Relationship Id="rId5" Type="http://schemas.openxmlformats.org/officeDocument/2006/relationships/chart" Target="../charts/chart491.xml"/><Relationship Id="rId4" Type="http://schemas.openxmlformats.org/officeDocument/2006/relationships/image" Target="../media/image28.emf"/></Relationships>
</file>

<file path=ppt/slides/_rels/slide4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9.xml"/><Relationship Id="rId5" Type="http://schemas.openxmlformats.org/officeDocument/2006/relationships/chart" Target="../charts/chart492.xml"/><Relationship Id="rId4" Type="http://schemas.openxmlformats.org/officeDocument/2006/relationships/image" Target="../media/image28.emf"/></Relationships>
</file>

<file path=ppt/slides/_rels/slide4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0.xml"/><Relationship Id="rId5" Type="http://schemas.openxmlformats.org/officeDocument/2006/relationships/chart" Target="../charts/chart493.xml"/><Relationship Id="rId4" Type="http://schemas.openxmlformats.org/officeDocument/2006/relationships/image" Target="../media/image28.emf"/></Relationships>
</file>

<file path=ppt/slides/_rels/slide4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1.xml"/><Relationship Id="rId5" Type="http://schemas.openxmlformats.org/officeDocument/2006/relationships/chart" Target="../charts/chart494.xml"/><Relationship Id="rId4" Type="http://schemas.openxmlformats.org/officeDocument/2006/relationships/image" Target="../media/image28.emf"/></Relationships>
</file>

<file path=ppt/slides/_rels/slide4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2.xml"/><Relationship Id="rId5" Type="http://schemas.openxmlformats.org/officeDocument/2006/relationships/chart" Target="../charts/chart495.xml"/><Relationship Id="rId4" Type="http://schemas.openxmlformats.org/officeDocument/2006/relationships/image" Target="../media/image28.emf"/></Relationships>
</file>

<file path=ppt/slides/_rels/slide4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3.xml"/><Relationship Id="rId5" Type="http://schemas.openxmlformats.org/officeDocument/2006/relationships/chart" Target="../charts/chart496.xml"/><Relationship Id="rId4" Type="http://schemas.openxmlformats.org/officeDocument/2006/relationships/image" Target="../media/image28.emf"/></Relationships>
</file>

<file path=ppt/slides/_rels/slide4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4.xml"/><Relationship Id="rId5" Type="http://schemas.openxmlformats.org/officeDocument/2006/relationships/chart" Target="../charts/chart497.xml"/><Relationship Id="rId4" Type="http://schemas.openxmlformats.org/officeDocument/2006/relationships/image" Target="../media/image28.emf"/></Relationships>
</file>

<file path=ppt/slides/_rels/slide4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5.xml"/><Relationship Id="rId5" Type="http://schemas.openxmlformats.org/officeDocument/2006/relationships/chart" Target="../charts/chart498.xml"/><Relationship Id="rId4" Type="http://schemas.openxmlformats.org/officeDocument/2006/relationships/image" Target="../media/image28.emf"/></Relationships>
</file>

<file path=ppt/slides/_rels/slide4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6.xml"/><Relationship Id="rId5" Type="http://schemas.openxmlformats.org/officeDocument/2006/relationships/chart" Target="../charts/chart499.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5.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xml"/><Relationship Id="rId5" Type="http://schemas.openxmlformats.org/officeDocument/2006/relationships/chart" Target="../charts/chart50.xml"/><Relationship Id="rId4" Type="http://schemas.openxmlformats.org/officeDocument/2006/relationships/image" Target="../media/image28.emf"/></Relationships>
</file>

<file path=ppt/slides/_rels/slide5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7.xml"/><Relationship Id="rId5" Type="http://schemas.openxmlformats.org/officeDocument/2006/relationships/chart" Target="../charts/chart500.xml"/><Relationship Id="rId4" Type="http://schemas.openxmlformats.org/officeDocument/2006/relationships/image" Target="../media/image28.emf"/></Relationships>
</file>

<file path=ppt/slides/_rels/slide5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8.xml"/><Relationship Id="rId5" Type="http://schemas.openxmlformats.org/officeDocument/2006/relationships/chart" Target="../charts/chart501.xml"/><Relationship Id="rId4" Type="http://schemas.openxmlformats.org/officeDocument/2006/relationships/image" Target="../media/image28.emf"/></Relationships>
</file>

<file path=ppt/slides/_rels/slide5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9.xml"/><Relationship Id="rId5" Type="http://schemas.openxmlformats.org/officeDocument/2006/relationships/chart" Target="../charts/chart502.xml"/><Relationship Id="rId4" Type="http://schemas.openxmlformats.org/officeDocument/2006/relationships/image" Target="../media/image28.emf"/></Relationships>
</file>

<file path=ppt/slides/_rels/slide5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0.xml"/><Relationship Id="rId5" Type="http://schemas.openxmlformats.org/officeDocument/2006/relationships/chart" Target="../charts/chart503.xml"/><Relationship Id="rId4" Type="http://schemas.openxmlformats.org/officeDocument/2006/relationships/image" Target="../media/image28.emf"/></Relationships>
</file>

<file path=ppt/slides/_rels/slide5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1.xml"/><Relationship Id="rId5" Type="http://schemas.openxmlformats.org/officeDocument/2006/relationships/chart" Target="../charts/chart504.xml"/><Relationship Id="rId4" Type="http://schemas.openxmlformats.org/officeDocument/2006/relationships/image" Target="../media/image28.emf"/></Relationships>
</file>

<file path=ppt/slides/_rels/slide5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2.xml"/><Relationship Id="rId5" Type="http://schemas.openxmlformats.org/officeDocument/2006/relationships/chart" Target="../charts/chart505.xml"/><Relationship Id="rId4" Type="http://schemas.openxmlformats.org/officeDocument/2006/relationships/image" Target="../media/image28.emf"/></Relationships>
</file>

<file path=ppt/slides/_rels/slide5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3.xml"/><Relationship Id="rId5" Type="http://schemas.openxmlformats.org/officeDocument/2006/relationships/chart" Target="../charts/chart506.xml"/><Relationship Id="rId4" Type="http://schemas.openxmlformats.org/officeDocument/2006/relationships/image" Target="../media/image28.emf"/></Relationships>
</file>

<file path=ppt/slides/_rels/slide5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4.xml"/><Relationship Id="rId5" Type="http://schemas.openxmlformats.org/officeDocument/2006/relationships/chart" Target="../charts/chart507.xml"/><Relationship Id="rId4" Type="http://schemas.openxmlformats.org/officeDocument/2006/relationships/image" Target="../media/image28.emf"/></Relationships>
</file>

<file path=ppt/slides/_rels/slide5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5.xml"/><Relationship Id="rId5" Type="http://schemas.openxmlformats.org/officeDocument/2006/relationships/chart" Target="../charts/chart508.xml"/><Relationship Id="rId4" Type="http://schemas.openxmlformats.org/officeDocument/2006/relationships/image" Target="../media/image28.emf"/></Relationships>
</file>

<file path=ppt/slides/_rels/slide5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6.xml"/><Relationship Id="rId5" Type="http://schemas.openxmlformats.org/officeDocument/2006/relationships/chart" Target="../charts/chart509.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xml"/><Relationship Id="rId5" Type="http://schemas.openxmlformats.org/officeDocument/2006/relationships/chart" Target="../charts/chart51.xml"/><Relationship Id="rId4" Type="http://schemas.openxmlformats.org/officeDocument/2006/relationships/image" Target="../media/image28.emf"/></Relationships>
</file>

<file path=ppt/slides/_rels/slide5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7.xml"/><Relationship Id="rId5" Type="http://schemas.openxmlformats.org/officeDocument/2006/relationships/chart" Target="../charts/chart510.xml"/><Relationship Id="rId4" Type="http://schemas.openxmlformats.org/officeDocument/2006/relationships/image" Target="../media/image28.emf"/></Relationships>
</file>

<file path=ppt/slides/_rels/slide5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8.xml"/><Relationship Id="rId5" Type="http://schemas.openxmlformats.org/officeDocument/2006/relationships/chart" Target="../charts/chart511.xml"/><Relationship Id="rId4" Type="http://schemas.openxmlformats.org/officeDocument/2006/relationships/image" Target="../media/image28.emf"/></Relationships>
</file>

<file path=ppt/slides/_rels/slide5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9.xml"/><Relationship Id="rId5" Type="http://schemas.openxmlformats.org/officeDocument/2006/relationships/chart" Target="../charts/chart512.xml"/><Relationship Id="rId4" Type="http://schemas.openxmlformats.org/officeDocument/2006/relationships/image" Target="../media/image28.emf"/></Relationships>
</file>

<file path=ppt/slides/_rels/slide5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0.xml"/><Relationship Id="rId5" Type="http://schemas.openxmlformats.org/officeDocument/2006/relationships/chart" Target="../charts/chart513.xml"/><Relationship Id="rId4" Type="http://schemas.openxmlformats.org/officeDocument/2006/relationships/image" Target="../media/image28.emf"/></Relationships>
</file>

<file path=ppt/slides/_rels/slide5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1.xml"/><Relationship Id="rId5" Type="http://schemas.openxmlformats.org/officeDocument/2006/relationships/chart" Target="../charts/chart514.xml"/><Relationship Id="rId4" Type="http://schemas.openxmlformats.org/officeDocument/2006/relationships/image" Target="../media/image28.emf"/></Relationships>
</file>

<file path=ppt/slides/_rels/slide5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2.xml"/><Relationship Id="rId5" Type="http://schemas.openxmlformats.org/officeDocument/2006/relationships/chart" Target="../charts/chart515.xml"/><Relationship Id="rId4" Type="http://schemas.openxmlformats.org/officeDocument/2006/relationships/image" Target="../media/image28.emf"/></Relationships>
</file>

<file path=ppt/slides/_rels/slide5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3.xml"/><Relationship Id="rId5" Type="http://schemas.openxmlformats.org/officeDocument/2006/relationships/chart" Target="../charts/chart516.xml"/><Relationship Id="rId4" Type="http://schemas.openxmlformats.org/officeDocument/2006/relationships/image" Target="../media/image28.emf"/></Relationships>
</file>

<file path=ppt/slides/_rels/slide5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4.xml"/><Relationship Id="rId5" Type="http://schemas.openxmlformats.org/officeDocument/2006/relationships/chart" Target="../charts/chart517.xml"/><Relationship Id="rId4" Type="http://schemas.openxmlformats.org/officeDocument/2006/relationships/image" Target="../media/image28.emf"/></Relationships>
</file>

<file path=ppt/slides/_rels/slide5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5.xml"/><Relationship Id="rId5" Type="http://schemas.openxmlformats.org/officeDocument/2006/relationships/chart" Target="../charts/chart518.xml"/><Relationship Id="rId4" Type="http://schemas.openxmlformats.org/officeDocument/2006/relationships/image" Target="../media/image28.emf"/></Relationships>
</file>

<file path=ppt/slides/_rels/slide5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6.xml"/><Relationship Id="rId5" Type="http://schemas.openxmlformats.org/officeDocument/2006/relationships/chart" Target="../charts/chart519.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xml"/><Relationship Id="rId5" Type="http://schemas.openxmlformats.org/officeDocument/2006/relationships/chart" Target="../charts/chart52.xml"/><Relationship Id="rId4" Type="http://schemas.openxmlformats.org/officeDocument/2006/relationships/image" Target="../media/image28.emf"/></Relationships>
</file>

<file path=ppt/slides/_rels/slide5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7.xml"/><Relationship Id="rId5" Type="http://schemas.openxmlformats.org/officeDocument/2006/relationships/chart" Target="../charts/chart520.xml"/><Relationship Id="rId4" Type="http://schemas.openxmlformats.org/officeDocument/2006/relationships/image" Target="../media/image28.emf"/></Relationships>
</file>

<file path=ppt/slides/_rels/slide5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8.xml"/><Relationship Id="rId5" Type="http://schemas.openxmlformats.org/officeDocument/2006/relationships/chart" Target="../charts/chart521.xml"/><Relationship Id="rId4" Type="http://schemas.openxmlformats.org/officeDocument/2006/relationships/image" Target="../media/image28.emf"/></Relationships>
</file>

<file path=ppt/slides/_rels/slide5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9.xml"/><Relationship Id="rId5" Type="http://schemas.openxmlformats.org/officeDocument/2006/relationships/chart" Target="../charts/chart522.xml"/><Relationship Id="rId4" Type="http://schemas.openxmlformats.org/officeDocument/2006/relationships/image" Target="../media/image28.emf"/></Relationships>
</file>

<file path=ppt/slides/_rels/slide5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0.xml"/><Relationship Id="rId5" Type="http://schemas.openxmlformats.org/officeDocument/2006/relationships/chart" Target="../charts/chart523.xml"/><Relationship Id="rId4" Type="http://schemas.openxmlformats.org/officeDocument/2006/relationships/image" Target="../media/image28.emf"/></Relationships>
</file>

<file path=ppt/slides/_rels/slide5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1.xml"/><Relationship Id="rId5" Type="http://schemas.openxmlformats.org/officeDocument/2006/relationships/chart" Target="../charts/chart524.xml"/><Relationship Id="rId4" Type="http://schemas.openxmlformats.org/officeDocument/2006/relationships/image" Target="../media/image28.emf"/></Relationships>
</file>

<file path=ppt/slides/_rels/slide5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2.xml"/><Relationship Id="rId5" Type="http://schemas.openxmlformats.org/officeDocument/2006/relationships/chart" Target="../charts/chart525.xml"/><Relationship Id="rId4" Type="http://schemas.openxmlformats.org/officeDocument/2006/relationships/image" Target="../media/image28.emf"/></Relationships>
</file>

<file path=ppt/slides/_rels/slide5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3.xml"/><Relationship Id="rId5" Type="http://schemas.openxmlformats.org/officeDocument/2006/relationships/chart" Target="../charts/chart526.xml"/><Relationship Id="rId4" Type="http://schemas.openxmlformats.org/officeDocument/2006/relationships/image" Target="../media/image28.emf"/></Relationships>
</file>

<file path=ppt/slides/_rels/slide5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4.xml"/><Relationship Id="rId5" Type="http://schemas.openxmlformats.org/officeDocument/2006/relationships/chart" Target="../charts/chart527.xml"/><Relationship Id="rId4" Type="http://schemas.openxmlformats.org/officeDocument/2006/relationships/image" Target="../media/image28.emf"/></Relationships>
</file>

<file path=ppt/slides/_rels/slide5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5.xml"/><Relationship Id="rId5" Type="http://schemas.openxmlformats.org/officeDocument/2006/relationships/chart" Target="../charts/chart528.xml"/><Relationship Id="rId4" Type="http://schemas.openxmlformats.org/officeDocument/2006/relationships/image" Target="../media/image28.emf"/></Relationships>
</file>

<file path=ppt/slides/_rels/slide5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6.xml"/><Relationship Id="rId5" Type="http://schemas.openxmlformats.org/officeDocument/2006/relationships/chart" Target="../charts/chart529.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xml"/><Relationship Id="rId5" Type="http://schemas.openxmlformats.org/officeDocument/2006/relationships/chart" Target="../charts/chart53.xml"/><Relationship Id="rId4" Type="http://schemas.openxmlformats.org/officeDocument/2006/relationships/image" Target="../media/image28.emf"/></Relationships>
</file>

<file path=ppt/slides/_rels/slide5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7.xml"/><Relationship Id="rId5" Type="http://schemas.openxmlformats.org/officeDocument/2006/relationships/chart" Target="../charts/chart530.xml"/><Relationship Id="rId4" Type="http://schemas.openxmlformats.org/officeDocument/2006/relationships/image" Target="../media/image28.emf"/></Relationships>
</file>

<file path=ppt/slides/_rels/slide5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8.xml"/><Relationship Id="rId5" Type="http://schemas.openxmlformats.org/officeDocument/2006/relationships/chart" Target="../charts/chart531.xml"/><Relationship Id="rId4" Type="http://schemas.openxmlformats.org/officeDocument/2006/relationships/image" Target="../media/image28.emf"/></Relationships>
</file>

<file path=ppt/slides/_rels/slide5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9.xml"/><Relationship Id="rId5" Type="http://schemas.openxmlformats.org/officeDocument/2006/relationships/chart" Target="../charts/chart532.xml"/><Relationship Id="rId4" Type="http://schemas.openxmlformats.org/officeDocument/2006/relationships/image" Target="../media/image28.emf"/></Relationships>
</file>

<file path=ppt/slides/_rels/slide5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0.xml"/><Relationship Id="rId5" Type="http://schemas.openxmlformats.org/officeDocument/2006/relationships/chart" Target="../charts/chart533.xml"/><Relationship Id="rId4" Type="http://schemas.openxmlformats.org/officeDocument/2006/relationships/image" Target="../media/image28.emf"/></Relationships>
</file>

<file path=ppt/slides/_rels/slide5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1.xml"/><Relationship Id="rId5" Type="http://schemas.openxmlformats.org/officeDocument/2006/relationships/chart" Target="../charts/chart534.xml"/><Relationship Id="rId4" Type="http://schemas.openxmlformats.org/officeDocument/2006/relationships/image" Target="../media/image28.emf"/></Relationships>
</file>

<file path=ppt/slides/_rels/slide5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2.xml"/><Relationship Id="rId5" Type="http://schemas.openxmlformats.org/officeDocument/2006/relationships/chart" Target="../charts/chart535.xml"/><Relationship Id="rId4" Type="http://schemas.openxmlformats.org/officeDocument/2006/relationships/image" Target="../media/image28.emf"/></Relationships>
</file>

<file path=ppt/slides/_rels/slide5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3.xml"/><Relationship Id="rId5" Type="http://schemas.openxmlformats.org/officeDocument/2006/relationships/chart" Target="../charts/chart536.xml"/><Relationship Id="rId4" Type="http://schemas.openxmlformats.org/officeDocument/2006/relationships/image" Target="../media/image28.emf"/></Relationships>
</file>

<file path=ppt/slides/_rels/slide5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4.xml"/><Relationship Id="rId5" Type="http://schemas.openxmlformats.org/officeDocument/2006/relationships/chart" Target="../charts/chart537.xml"/><Relationship Id="rId4" Type="http://schemas.openxmlformats.org/officeDocument/2006/relationships/image" Target="../media/image28.emf"/></Relationships>
</file>

<file path=ppt/slides/_rels/slide5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5.xml"/><Relationship Id="rId5" Type="http://schemas.openxmlformats.org/officeDocument/2006/relationships/chart" Target="../charts/chart538.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xml"/><Relationship Id="rId5" Type="http://schemas.openxmlformats.org/officeDocument/2006/relationships/chart" Target="../charts/chart54.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xml"/><Relationship Id="rId5" Type="http://schemas.openxmlformats.org/officeDocument/2006/relationships/chart" Target="../charts/chart55.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xml"/><Relationship Id="rId5" Type="http://schemas.openxmlformats.org/officeDocument/2006/relationships/chart" Target="../charts/chart56.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xml"/><Relationship Id="rId5" Type="http://schemas.openxmlformats.org/officeDocument/2006/relationships/chart" Target="../charts/chart57.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xml"/><Relationship Id="rId5" Type="http://schemas.openxmlformats.org/officeDocument/2006/relationships/chart" Target="../charts/chart58.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xml"/><Relationship Id="rId5" Type="http://schemas.openxmlformats.org/officeDocument/2006/relationships/chart" Target="../charts/chart59.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6.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xml"/><Relationship Id="rId5" Type="http://schemas.openxmlformats.org/officeDocument/2006/relationships/chart" Target="../charts/chart60.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xml"/><Relationship Id="rId5" Type="http://schemas.openxmlformats.org/officeDocument/2006/relationships/chart" Target="../charts/chart61.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xml"/><Relationship Id="rId5" Type="http://schemas.openxmlformats.org/officeDocument/2006/relationships/chart" Target="../charts/chart62.xml"/><Relationship Id="rId4" Type="http://schemas.openxmlformats.org/officeDocument/2006/relationships/image" Target="../media/image2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xml"/><Relationship Id="rId5" Type="http://schemas.openxmlformats.org/officeDocument/2006/relationships/chart" Target="../charts/chart63.x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xml"/><Relationship Id="rId5" Type="http://schemas.openxmlformats.org/officeDocument/2006/relationships/chart" Target="../charts/chart64.xml"/><Relationship Id="rId4" Type="http://schemas.openxmlformats.org/officeDocument/2006/relationships/image" Target="../media/image28.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xml"/><Relationship Id="rId5" Type="http://schemas.openxmlformats.org/officeDocument/2006/relationships/chart" Target="../charts/chart65.xml"/><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xml"/><Relationship Id="rId5" Type="http://schemas.openxmlformats.org/officeDocument/2006/relationships/chart" Target="../charts/chart66.xml"/><Relationship Id="rId4" Type="http://schemas.openxmlformats.org/officeDocument/2006/relationships/image" Target="../media/image2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xml"/><Relationship Id="rId5" Type="http://schemas.openxmlformats.org/officeDocument/2006/relationships/chart" Target="../charts/chart67.xml"/><Relationship Id="rId4" Type="http://schemas.openxmlformats.org/officeDocument/2006/relationships/image" Target="../media/image2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xml"/><Relationship Id="rId5" Type="http://schemas.openxmlformats.org/officeDocument/2006/relationships/chart" Target="../charts/chart68.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xml"/><Relationship Id="rId5" Type="http://schemas.openxmlformats.org/officeDocument/2006/relationships/chart" Target="../charts/chart69.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7.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xml"/><Relationship Id="rId5" Type="http://schemas.openxmlformats.org/officeDocument/2006/relationships/chart" Target="../charts/chart70.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xml"/><Relationship Id="rId5" Type="http://schemas.openxmlformats.org/officeDocument/2006/relationships/chart" Target="../charts/chart71.xml"/><Relationship Id="rId4" Type="http://schemas.openxmlformats.org/officeDocument/2006/relationships/image" Target="../media/image2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xml"/><Relationship Id="rId5" Type="http://schemas.openxmlformats.org/officeDocument/2006/relationships/chart" Target="../charts/chart72.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xml"/><Relationship Id="rId5" Type="http://schemas.openxmlformats.org/officeDocument/2006/relationships/chart" Target="../charts/chart73.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xml"/><Relationship Id="rId5" Type="http://schemas.openxmlformats.org/officeDocument/2006/relationships/chart" Target="../charts/chart74.xml"/><Relationship Id="rId4" Type="http://schemas.openxmlformats.org/officeDocument/2006/relationships/image" Target="../media/image28.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xml"/><Relationship Id="rId5" Type="http://schemas.openxmlformats.org/officeDocument/2006/relationships/chart" Target="../charts/chart75.xml"/><Relationship Id="rId4" Type="http://schemas.openxmlformats.org/officeDocument/2006/relationships/image" Target="../media/image28.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xml"/><Relationship Id="rId5" Type="http://schemas.openxmlformats.org/officeDocument/2006/relationships/chart" Target="../charts/chart76.xml"/><Relationship Id="rId4" Type="http://schemas.openxmlformats.org/officeDocument/2006/relationships/image" Target="../media/image2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xml"/><Relationship Id="rId5" Type="http://schemas.openxmlformats.org/officeDocument/2006/relationships/chart" Target="../charts/chart77.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xml"/><Relationship Id="rId5" Type="http://schemas.openxmlformats.org/officeDocument/2006/relationships/chart" Target="../charts/chart78.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xml"/><Relationship Id="rId5" Type="http://schemas.openxmlformats.org/officeDocument/2006/relationships/chart" Target="../charts/chart79.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8.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xml"/><Relationship Id="rId5" Type="http://schemas.openxmlformats.org/officeDocument/2006/relationships/chart" Target="../charts/chart80.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xml"/><Relationship Id="rId5" Type="http://schemas.openxmlformats.org/officeDocument/2006/relationships/chart" Target="../charts/chart81.xml"/><Relationship Id="rId4" Type="http://schemas.openxmlformats.org/officeDocument/2006/relationships/image" Target="../media/image28.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xml"/><Relationship Id="rId5" Type="http://schemas.openxmlformats.org/officeDocument/2006/relationships/chart" Target="../charts/chart82.xml"/><Relationship Id="rId4" Type="http://schemas.openxmlformats.org/officeDocument/2006/relationships/image" Target="../media/image28.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xml"/><Relationship Id="rId5" Type="http://schemas.openxmlformats.org/officeDocument/2006/relationships/chart" Target="../charts/chart83.xml"/><Relationship Id="rId4" Type="http://schemas.openxmlformats.org/officeDocument/2006/relationships/image" Target="../media/image28.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xml"/><Relationship Id="rId5" Type="http://schemas.openxmlformats.org/officeDocument/2006/relationships/chart" Target="../charts/chart84.xml"/><Relationship Id="rId4" Type="http://schemas.openxmlformats.org/officeDocument/2006/relationships/image" Target="../media/image28.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xml"/><Relationship Id="rId5" Type="http://schemas.openxmlformats.org/officeDocument/2006/relationships/chart" Target="../charts/chart85.xml"/><Relationship Id="rId4" Type="http://schemas.openxmlformats.org/officeDocument/2006/relationships/image" Target="../media/image28.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3.xml"/><Relationship Id="rId5" Type="http://schemas.openxmlformats.org/officeDocument/2006/relationships/chart" Target="../charts/chart86.xml"/><Relationship Id="rId4" Type="http://schemas.openxmlformats.org/officeDocument/2006/relationships/image" Target="../media/image28.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4.xml"/><Relationship Id="rId5" Type="http://schemas.openxmlformats.org/officeDocument/2006/relationships/chart" Target="../charts/chart87.xml"/><Relationship Id="rId4" Type="http://schemas.openxmlformats.org/officeDocument/2006/relationships/image" Target="../media/image28.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5.xml"/><Relationship Id="rId5" Type="http://schemas.openxmlformats.org/officeDocument/2006/relationships/chart" Target="../charts/chart88.xml"/><Relationship Id="rId4" Type="http://schemas.openxmlformats.org/officeDocument/2006/relationships/image" Target="../media/image28.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6.xml"/><Relationship Id="rId5" Type="http://schemas.openxmlformats.org/officeDocument/2006/relationships/chart" Target="../charts/chart89.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9.xml"/><Relationship Id="rId4" Type="http://schemas.openxmlformats.org/officeDocument/2006/relationships/image" Target="../media/image28.e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7.xml"/><Relationship Id="rId5" Type="http://schemas.openxmlformats.org/officeDocument/2006/relationships/chart" Target="../charts/chart90.xml"/><Relationship Id="rId4" Type="http://schemas.openxmlformats.org/officeDocument/2006/relationships/image" Target="../media/image28.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8.xml"/><Relationship Id="rId5" Type="http://schemas.openxmlformats.org/officeDocument/2006/relationships/chart" Target="../charts/chart91.xml"/><Relationship Id="rId4" Type="http://schemas.openxmlformats.org/officeDocument/2006/relationships/image" Target="../media/image28.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9.xml"/><Relationship Id="rId5" Type="http://schemas.openxmlformats.org/officeDocument/2006/relationships/chart" Target="../charts/chart92.xml"/><Relationship Id="rId4" Type="http://schemas.openxmlformats.org/officeDocument/2006/relationships/image" Target="../media/image28.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0.xml"/><Relationship Id="rId5" Type="http://schemas.openxmlformats.org/officeDocument/2006/relationships/chart" Target="../charts/chart93.xml"/><Relationship Id="rId4" Type="http://schemas.openxmlformats.org/officeDocument/2006/relationships/image" Target="../media/image28.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1.xml"/><Relationship Id="rId5" Type="http://schemas.openxmlformats.org/officeDocument/2006/relationships/chart" Target="../charts/chart94.xml"/><Relationship Id="rId4" Type="http://schemas.openxmlformats.org/officeDocument/2006/relationships/image" Target="../media/image28.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2.xml"/><Relationship Id="rId5" Type="http://schemas.openxmlformats.org/officeDocument/2006/relationships/chart" Target="../charts/chart95.xml"/><Relationship Id="rId4" Type="http://schemas.openxmlformats.org/officeDocument/2006/relationships/image" Target="../media/image28.emf"/></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3.xml"/><Relationship Id="rId5" Type="http://schemas.openxmlformats.org/officeDocument/2006/relationships/chart" Target="../charts/chart96.xml"/><Relationship Id="rId4" Type="http://schemas.openxmlformats.org/officeDocument/2006/relationships/image" Target="../media/image28.emf"/></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4.xml"/><Relationship Id="rId5" Type="http://schemas.openxmlformats.org/officeDocument/2006/relationships/chart" Target="../charts/chart97.xml"/><Relationship Id="rId4" Type="http://schemas.openxmlformats.org/officeDocument/2006/relationships/image" Target="../media/image28.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5.xml"/><Relationship Id="rId5" Type="http://schemas.openxmlformats.org/officeDocument/2006/relationships/chart" Target="../charts/chart98.xml"/><Relationship Id="rId4" Type="http://schemas.openxmlformats.org/officeDocument/2006/relationships/image" Target="../media/image28.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6.xml"/><Relationship Id="rId5" Type="http://schemas.openxmlformats.org/officeDocument/2006/relationships/chart" Target="../charts/chart99.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925475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72733587"/>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84503906"/>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11344749"/>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73452807"/>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97935576"/>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8909424"/>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32404187"/>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32717026"/>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9759147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42700911"/>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749262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98988826"/>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85212928"/>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46479256"/>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2274273"/>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22403147"/>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61664666"/>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83477400"/>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0552284"/>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534937"/>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68026928"/>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636829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01046951"/>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42786500"/>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29752218"/>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46166078"/>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14866717"/>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44513354"/>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39236028"/>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41753707"/>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56998892"/>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02938436"/>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538052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97228037"/>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57749950"/>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78757791"/>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24784170"/>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74917247"/>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11293966"/>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78730580"/>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99755182"/>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60059713"/>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37524363"/>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7596091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50326982"/>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89118855"/>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75786300"/>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8132836"/>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33870568"/>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19361885"/>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94371938"/>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05174546"/>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24668858"/>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94268726"/>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3815717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21794532"/>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79685421"/>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33351410"/>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13448764"/>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10812925"/>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43424288"/>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43489323"/>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35789620"/>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70114303"/>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8230865"/>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269951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93332152"/>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36477352"/>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60439890"/>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88868693"/>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30659777"/>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34975556"/>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86839478"/>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22845287"/>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81862677"/>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5748976"/>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610450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71785873"/>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32070085"/>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63900825"/>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6746660"/>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36883358"/>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95817593"/>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1561230"/>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64058801"/>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29007512"/>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11264202"/>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963161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72719965"/>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04178322"/>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13541757"/>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88933268"/>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66264738"/>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52955868"/>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52081121"/>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10979806"/>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38024968"/>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48939862"/>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369887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02644779"/>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03653520"/>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03027881"/>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38885927"/>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76570504"/>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60080695"/>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09752379"/>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16711462"/>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65658225"/>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96106633"/>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950069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242317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8927525"/>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95992632"/>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766201"/>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65778635"/>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30655608"/>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2110083"/>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57833895"/>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45558560"/>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65191364"/>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3454326"/>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4173208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6075325"/>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89736047"/>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98986682"/>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78555362"/>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08439671"/>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46180363"/>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87825401"/>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37480927"/>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97751154"/>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68271786"/>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3193969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91634918"/>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22871103"/>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49111637"/>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23832508"/>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66153453"/>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40611509"/>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08225151"/>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38997469"/>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50937346"/>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44381821"/>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976464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87375937"/>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43271704"/>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65652113"/>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62829921"/>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31448961"/>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8766086"/>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12820903"/>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63627690"/>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18980520"/>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85525413"/>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498836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16300253"/>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2888583"/>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35412645"/>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94373935"/>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68039811"/>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37259137"/>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20161965"/>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00649306"/>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87480906"/>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31507810"/>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6877697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1328688"/>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51101806"/>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07538210"/>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14716291"/>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95548039"/>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15688674"/>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74599852"/>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0943715"/>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89705669"/>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11910646"/>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7648493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46101470"/>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34039048"/>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30818232"/>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51582770"/>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89373687"/>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67556211"/>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66819624"/>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88402711"/>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6023221"/>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34040851"/>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3227103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32978172"/>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4854203"/>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02086122"/>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03615938"/>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94741762"/>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02073544"/>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70665355"/>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89548953"/>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71520587"/>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24554026"/>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9113648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32102717"/>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25562207"/>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93809244"/>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79987766"/>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06499219"/>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87425743"/>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93658647"/>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66531508"/>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69832470"/>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59230959"/>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13844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89341339"/>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23644270"/>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4522828"/>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4861202"/>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26278209"/>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44432110"/>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35157624"/>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56196785"/>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19903741"/>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72398305"/>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385907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3793818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20327866"/>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06546021"/>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88997234"/>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88758134"/>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96030821"/>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16274572"/>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97011437"/>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94003047"/>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09293362"/>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48472986"/>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1543194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35796108"/>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97683456"/>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05511803"/>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48310850"/>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70269789"/>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62628856"/>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00448556"/>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17709663"/>
      </p:ext>
    </p:ext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45618095"/>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3763137"/>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803722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67317689"/>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55612385"/>
      </p:ext>
    </p:extLst>
  </p:cSld>
  <p:clrMapOvr>
    <a:masterClrMapping/>
  </p:clrMapOvr>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5895846"/>
      </p:ext>
    </p:extLst>
  </p:cSld>
  <p:clrMapOvr>
    <a:masterClrMapping/>
  </p:clrMapOvr>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20489450"/>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08436492"/>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6451434"/>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22889912"/>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92314848"/>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35119579"/>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30481613"/>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7331316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10680346"/>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77297292"/>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67154314"/>
      </p:ext>
    </p:extLst>
  </p:cSld>
  <p:clrMapOvr>
    <a:masterClrMapping/>
  </p:clrMapOvr>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70414821"/>
      </p:ext>
    </p:extLst>
  </p:cSld>
  <p:clrMapOvr>
    <a:masterClrMapping/>
  </p:clrMapOvr>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30412741"/>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59834520"/>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30576556"/>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8228451"/>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95685552"/>
      </p:ext>
    </p:extLst>
  </p:cSld>
  <p:clrMapOvr>
    <a:masterClrMapping/>
  </p:clrMapOvr>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20683432"/>
      </p:ext>
    </p:extLst>
  </p:cSld>
  <p:clrMapOvr>
    <a:masterClrMapping/>
  </p:clrMapOvr>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4159091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74747133"/>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99120886"/>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89057084"/>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2778149"/>
      </p:ext>
    </p:extLst>
  </p:cSld>
  <p:clrMapOvr>
    <a:masterClrMapping/>
  </p:clrMapOvr>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15892726"/>
      </p:ext>
    </p:extLst>
  </p:cSld>
  <p:clrMapOvr>
    <a:masterClrMapping/>
  </p:clrMapOvr>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91554240"/>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39292600"/>
      </p:ext>
    </p:extLst>
  </p:cSld>
  <p:clrMapOvr>
    <a:masterClrMapping/>
  </p:clrMapOvr>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08721280"/>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89537899"/>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1331266"/>
      </p:ext>
    </p:ext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1806907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45596354"/>
      </p:ext>
    </p:extLst>
  </p:cSld>
  <p:clrMapOvr>
    <a:masterClrMapping/>
  </p:clrMapOvr>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39141826"/>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15964338"/>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4738503"/>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25115196"/>
      </p:ext>
    </p:extLst>
  </p:cSld>
  <p:clrMapOvr>
    <a:masterClrMapping/>
  </p:clrMapOvr>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85137750"/>
      </p:ext>
    </p:extLst>
  </p:cSld>
  <p:clrMapOvr>
    <a:masterClrMapping/>
  </p:clrMapOvr>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27027962"/>
      </p:ext>
    </p:ext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23978195"/>
      </p:ext>
    </p:extLst>
  </p:cSld>
  <p:clrMapOvr>
    <a:masterClrMapping/>
  </p:clrMapOvr>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72367268"/>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22574623"/>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8460350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62210512"/>
      </p:ext>
    </p:extLst>
  </p:cSld>
  <p:clrMapOvr>
    <a:masterClrMapping/>
  </p:clrMapOvr>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48364377"/>
      </p:ext>
    </p:extLst>
  </p:cSld>
  <p:clrMapOvr>
    <a:masterClrMapping/>
  </p:clrMapOvr>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83509837"/>
      </p:ext>
    </p:extLst>
  </p:cSld>
  <p:clrMapOvr>
    <a:masterClrMapping/>
  </p:clrMapOvr>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14884672"/>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79034075"/>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37065238"/>
      </p:ext>
    </p:extLst>
  </p:cSld>
  <p:clrMapOvr>
    <a:masterClrMapping/>
  </p:clrMapOvr>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47069144"/>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74894351"/>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53737572"/>
      </p:ext>
    </p:extLst>
  </p:cSld>
  <p:clrMapOvr>
    <a:masterClrMapping/>
  </p:clrMapOvr>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984927"/>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123976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28086020"/>
      </p:ext>
    </p:extLst>
  </p:cSld>
  <p:clrMapOvr>
    <a:masterClrMapping/>
  </p:clrMapOvr>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38589470"/>
      </p:ext>
    </p:extLst>
  </p:cSld>
  <p:clrMapOvr>
    <a:masterClrMapping/>
  </p:clrMapOvr>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15765294"/>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92506753"/>
      </p:ext>
    </p:extLst>
  </p:cSld>
  <p:clrMapOvr>
    <a:masterClrMapping/>
  </p:clrMapOvr>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025018"/>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25454829"/>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21126734"/>
      </p:ext>
    </p:extLst>
  </p:cSld>
  <p:clrMapOvr>
    <a:masterClrMapping/>
  </p:clrMapOvr>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95553980"/>
      </p:ext>
    </p:extLst>
  </p:cSld>
  <p:clrMapOvr>
    <a:masterClrMapping/>
  </p:clrMapOvr>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56735152"/>
      </p:ext>
    </p:extLst>
  </p:cSld>
  <p:clrMapOvr>
    <a:masterClrMapping/>
  </p:clrMapOvr>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93773870"/>
      </p:ext>
    </p:extLst>
  </p:cSld>
  <p:clrMapOvr>
    <a:masterClrMapping/>
  </p:clrMapOvr>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0082879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28928415"/>
      </p:ext>
    </p:extLst>
  </p:cSld>
  <p:clrMapOvr>
    <a:masterClrMapping/>
  </p:clrMapOvr>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3373669"/>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06504100"/>
      </p:ext>
    </p:extLst>
  </p:cSld>
  <p:clrMapOvr>
    <a:masterClrMapping/>
  </p:clrMapOvr>
</p:sld>
</file>

<file path=ppt/slides/slide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13809321"/>
      </p:ext>
    </p:extLst>
  </p:cSld>
  <p:clrMapOvr>
    <a:masterClrMapping/>
  </p:clrMapOvr>
</p:sld>
</file>

<file path=ppt/slides/slide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07616824"/>
      </p:ext>
    </p:extLst>
  </p:cSld>
  <p:clrMapOvr>
    <a:masterClrMapping/>
  </p:clrMapOvr>
</p:sld>
</file>

<file path=ppt/slides/slide3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45682584"/>
      </p:ext>
    </p:extLst>
  </p:cSld>
  <p:clrMapOvr>
    <a:masterClrMapping/>
  </p:clrMapOvr>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9179896"/>
      </p:ext>
    </p:extLst>
  </p:cSld>
  <p:clrMapOvr>
    <a:masterClrMapping/>
  </p:clrMapOvr>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94716529"/>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63586330"/>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14984869"/>
      </p:ext>
    </p:extLst>
  </p:cSld>
  <p:clrMapOvr>
    <a:masterClrMapping/>
  </p:clrMapOvr>
</p:sld>
</file>

<file path=ppt/slides/slide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1777432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91909013"/>
      </p:ext>
    </p:extLst>
  </p:cSld>
  <p:clrMapOvr>
    <a:masterClrMapping/>
  </p:clrMapOvr>
</p:sld>
</file>

<file path=ppt/slides/slide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10541416"/>
      </p:ext>
    </p:extLst>
  </p:cSld>
  <p:clrMapOvr>
    <a:masterClrMapping/>
  </p:clrMapOvr>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8192226"/>
      </p:ext>
    </p:extLst>
  </p:cSld>
  <p:clrMapOvr>
    <a:masterClrMapping/>
  </p:clrMapOvr>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55628361"/>
      </p:ext>
    </p:extLst>
  </p:cSld>
  <p:clrMapOvr>
    <a:masterClrMapping/>
  </p:clrMapOvr>
</p:sld>
</file>

<file path=ppt/slides/slide3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19912370"/>
      </p:ext>
    </p:extLst>
  </p:cSld>
  <p:clrMapOvr>
    <a:masterClrMapping/>
  </p:clrMapOvr>
</p:sld>
</file>

<file path=ppt/slides/slide3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77066384"/>
      </p:ext>
    </p:extLst>
  </p:cSld>
  <p:clrMapOvr>
    <a:masterClrMapping/>
  </p:clrMapOvr>
</p:sld>
</file>

<file path=ppt/slides/slide3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67449358"/>
      </p:ext>
    </p:extLst>
  </p:cSld>
  <p:clrMapOvr>
    <a:masterClrMapping/>
  </p:clrMapOvr>
</p:sld>
</file>

<file path=ppt/slides/slide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41056490"/>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69037007"/>
      </p:ext>
    </p:extLst>
  </p:cSld>
  <p:clrMapOvr>
    <a:masterClrMapping/>
  </p:clrMapOvr>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08473155"/>
      </p:ext>
    </p:extLst>
  </p:cSld>
  <p:clrMapOvr>
    <a:masterClrMapping/>
  </p:clrMapOvr>
</p:sld>
</file>

<file path=ppt/slides/slide3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431299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4236827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9596468"/>
      </p:ext>
    </p:extLst>
  </p:cSld>
  <p:clrMapOvr>
    <a:masterClrMapping/>
  </p:clrMapOvr>
</p:sld>
</file>

<file path=ppt/slides/slide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6802961"/>
      </p:ext>
    </p:extLst>
  </p:cSld>
  <p:clrMapOvr>
    <a:masterClrMapping/>
  </p:clrMapOvr>
</p:sld>
</file>

<file path=ppt/slides/slide4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64063887"/>
      </p:ext>
    </p:extLst>
  </p:cSld>
  <p:clrMapOvr>
    <a:masterClrMapping/>
  </p:clrMapOvr>
</p:sld>
</file>

<file path=ppt/slides/slide4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40177811"/>
      </p:ext>
    </p:extLst>
  </p:cSld>
  <p:clrMapOvr>
    <a:masterClrMapping/>
  </p:clrMapOvr>
</p:sld>
</file>

<file path=ppt/slides/slide4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58463340"/>
      </p:ext>
    </p:extLst>
  </p:cSld>
  <p:clrMapOvr>
    <a:masterClrMapping/>
  </p:clrMapOvr>
</p:sld>
</file>

<file path=ppt/slides/slide4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93558456"/>
      </p:ext>
    </p:extLst>
  </p:cSld>
  <p:clrMapOvr>
    <a:masterClrMapping/>
  </p:clrMapOvr>
</p:sld>
</file>

<file path=ppt/slides/slide4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81515377"/>
      </p:ext>
    </p:extLst>
  </p:cSld>
  <p:clrMapOvr>
    <a:masterClrMapping/>
  </p:clrMapOvr>
</p:sld>
</file>

<file path=ppt/slides/slide4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08786405"/>
      </p:ext>
    </p:extLst>
  </p:cSld>
  <p:clrMapOvr>
    <a:masterClrMapping/>
  </p:clrMapOvr>
</p:sld>
</file>

<file path=ppt/slides/slide4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92834171"/>
      </p:ext>
    </p:extLst>
  </p:cSld>
  <p:clrMapOvr>
    <a:masterClrMapping/>
  </p:clrMapOvr>
</p:sld>
</file>

<file path=ppt/slides/slide4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11732930"/>
      </p:ext>
    </p:extLst>
  </p:cSld>
  <p:clrMapOvr>
    <a:masterClrMapping/>
  </p:clrMapOvr>
</p:sld>
</file>

<file path=ppt/slides/slide4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7673225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48646847"/>
      </p:ext>
    </p:extLst>
  </p:cSld>
  <p:clrMapOvr>
    <a:masterClrMapping/>
  </p:clrMapOvr>
</p:sld>
</file>

<file path=ppt/slides/slide4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08189886"/>
      </p:ext>
    </p:extLst>
  </p:cSld>
  <p:clrMapOvr>
    <a:masterClrMapping/>
  </p:clrMapOvr>
</p:sld>
</file>

<file path=ppt/slides/slide4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56434969"/>
      </p:ext>
    </p:extLst>
  </p:cSld>
  <p:clrMapOvr>
    <a:masterClrMapping/>
  </p:clrMapOvr>
</p:sld>
</file>

<file path=ppt/slides/slide4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74717985"/>
      </p:ext>
    </p:extLst>
  </p:cSld>
  <p:clrMapOvr>
    <a:masterClrMapping/>
  </p:clrMapOvr>
</p:sld>
</file>

<file path=ppt/slides/slide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49465878"/>
      </p:ext>
    </p:extLst>
  </p:cSld>
  <p:clrMapOvr>
    <a:masterClrMapping/>
  </p:clrMapOvr>
</p:sld>
</file>

<file path=ppt/slides/slide4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32905692"/>
      </p:ext>
    </p:extLst>
  </p:cSld>
  <p:clrMapOvr>
    <a:masterClrMapping/>
  </p:clrMapOvr>
</p:sld>
</file>

<file path=ppt/slides/slide4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22163847"/>
      </p:ext>
    </p:extLst>
  </p:cSld>
  <p:clrMapOvr>
    <a:masterClrMapping/>
  </p:clrMapOvr>
</p:sld>
</file>

<file path=ppt/slides/slide4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53800485"/>
      </p:ext>
    </p:extLst>
  </p:cSld>
  <p:clrMapOvr>
    <a:masterClrMapping/>
  </p:clrMapOvr>
</p:sld>
</file>

<file path=ppt/slides/slide4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74680962"/>
      </p:ext>
    </p:extLst>
  </p:cSld>
  <p:clrMapOvr>
    <a:masterClrMapping/>
  </p:clrMapOvr>
</p:sld>
</file>

<file path=ppt/slides/slide4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20168951"/>
      </p:ext>
    </p:extLst>
  </p:cSld>
  <p:clrMapOvr>
    <a:masterClrMapping/>
  </p:clrMapOvr>
</p:sld>
</file>

<file path=ppt/slides/slide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5452775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10487725"/>
      </p:ext>
    </p:extLst>
  </p:cSld>
  <p:clrMapOvr>
    <a:masterClrMapping/>
  </p:clrMapOvr>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05580630"/>
      </p:ext>
    </p:extLst>
  </p:cSld>
  <p:clrMapOvr>
    <a:masterClrMapping/>
  </p:clrMapOvr>
</p:sld>
</file>

<file path=ppt/slides/slide4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65995596"/>
      </p:ext>
    </p:extLst>
  </p:cSld>
  <p:clrMapOvr>
    <a:masterClrMapping/>
  </p:clrMapOvr>
</p:sld>
</file>

<file path=ppt/slides/slide4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09472922"/>
      </p:ext>
    </p:extLst>
  </p:cSld>
  <p:clrMapOvr>
    <a:masterClrMapping/>
  </p:clrMapOvr>
</p:sld>
</file>

<file path=ppt/slides/slide4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50408399"/>
      </p:ext>
    </p:extLst>
  </p:cSld>
  <p:clrMapOvr>
    <a:masterClrMapping/>
  </p:clrMapOvr>
</p:sld>
</file>

<file path=ppt/slides/slide4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79773076"/>
      </p:ext>
    </p:extLst>
  </p:cSld>
  <p:clrMapOvr>
    <a:masterClrMapping/>
  </p:clrMapOvr>
</p:sld>
</file>

<file path=ppt/slides/slide4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6290679"/>
      </p:ext>
    </p:extLst>
  </p:cSld>
  <p:clrMapOvr>
    <a:masterClrMapping/>
  </p:clrMapOvr>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96990663"/>
      </p:ext>
    </p:extLst>
  </p:cSld>
  <p:clrMapOvr>
    <a:masterClrMapping/>
  </p:clrMapOvr>
</p:sld>
</file>

<file path=ppt/slides/slide4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79300435"/>
      </p:ext>
    </p:extLst>
  </p:cSld>
  <p:clrMapOvr>
    <a:masterClrMapping/>
  </p:clrMapOvr>
</p:sld>
</file>

<file path=ppt/slides/slide4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79597721"/>
      </p:ext>
    </p:extLst>
  </p:cSld>
  <p:clrMapOvr>
    <a:masterClrMapping/>
  </p:clrMapOvr>
</p:sld>
</file>

<file path=ppt/slides/slide4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0595738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13792591"/>
      </p:ext>
    </p:extLst>
  </p:cSld>
  <p:clrMapOvr>
    <a:masterClrMapping/>
  </p:clrMapOvr>
</p:sld>
</file>

<file path=ppt/slides/slide4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09862634"/>
      </p:ext>
    </p:extLst>
  </p:cSld>
  <p:clrMapOvr>
    <a:masterClrMapping/>
  </p:clrMapOvr>
</p:sld>
</file>

<file path=ppt/slides/slide4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39677901"/>
      </p:ext>
    </p:extLst>
  </p:cSld>
  <p:clrMapOvr>
    <a:masterClrMapping/>
  </p:clrMapOvr>
</p:sld>
</file>

<file path=ppt/slides/slide4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39769494"/>
      </p:ext>
    </p:extLst>
  </p:cSld>
  <p:clrMapOvr>
    <a:masterClrMapping/>
  </p:clrMapOvr>
</p:sld>
</file>

<file path=ppt/slides/slide4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2543810"/>
      </p:ext>
    </p:extLst>
  </p:cSld>
  <p:clrMapOvr>
    <a:masterClrMapping/>
  </p:clrMapOvr>
</p:sld>
</file>

<file path=ppt/slides/slide4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32902668"/>
      </p:ext>
    </p:extLst>
  </p:cSld>
  <p:clrMapOvr>
    <a:masterClrMapping/>
  </p:clrMapOvr>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01295876"/>
      </p:ext>
    </p:extLst>
  </p:cSld>
  <p:clrMapOvr>
    <a:masterClrMapping/>
  </p:clrMapOvr>
</p:sld>
</file>

<file path=ppt/slides/slide4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88613736"/>
      </p:ext>
    </p:extLst>
  </p:cSld>
  <p:clrMapOvr>
    <a:masterClrMapping/>
  </p:clrMapOvr>
</p:sld>
</file>

<file path=ppt/slides/slide4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39526033"/>
      </p:ext>
    </p:extLst>
  </p:cSld>
  <p:clrMapOvr>
    <a:masterClrMapping/>
  </p:clrMapOvr>
</p:sld>
</file>

<file path=ppt/slides/slide4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75187530"/>
      </p:ext>
    </p:extLst>
  </p:cSld>
  <p:clrMapOvr>
    <a:masterClrMapping/>
  </p:clrMapOvr>
</p:sld>
</file>

<file path=ppt/slides/slide4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9173119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37744204"/>
      </p:ext>
    </p:extLst>
  </p:cSld>
  <p:clrMapOvr>
    <a:masterClrMapping/>
  </p:clrMapOvr>
</p:sld>
</file>

<file path=ppt/slides/slide4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37318377"/>
      </p:ext>
    </p:extLst>
  </p:cSld>
  <p:clrMapOvr>
    <a:masterClrMapping/>
  </p:clrMapOvr>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6475452"/>
      </p:ext>
    </p:extLst>
  </p:cSld>
  <p:clrMapOvr>
    <a:masterClrMapping/>
  </p:clrMapOvr>
</p:sld>
</file>

<file path=ppt/slides/slide4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05080808"/>
      </p:ext>
    </p:extLst>
  </p:cSld>
  <p:clrMapOvr>
    <a:masterClrMapping/>
  </p:clrMapOvr>
</p:sld>
</file>

<file path=ppt/slides/slide4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09951878"/>
      </p:ext>
    </p:extLst>
  </p:cSld>
  <p:clrMapOvr>
    <a:masterClrMapping/>
  </p:clrMapOvr>
</p:sld>
</file>

<file path=ppt/slides/slide4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22513343"/>
      </p:ext>
    </p:extLst>
  </p:cSld>
  <p:clrMapOvr>
    <a:masterClrMapping/>
  </p:clrMapOvr>
</p:sld>
</file>

<file path=ppt/slides/slide4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69114810"/>
      </p:ext>
    </p:extLst>
  </p:cSld>
  <p:clrMapOvr>
    <a:masterClrMapping/>
  </p:clrMapOvr>
</p:sld>
</file>

<file path=ppt/slides/slide4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84421134"/>
      </p:ext>
    </p:extLst>
  </p:cSld>
  <p:clrMapOvr>
    <a:masterClrMapping/>
  </p:clrMapOvr>
</p:sld>
</file>

<file path=ppt/slides/slide4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41463746"/>
      </p:ext>
    </p:extLst>
  </p:cSld>
  <p:clrMapOvr>
    <a:masterClrMapping/>
  </p:clrMapOvr>
</p:sld>
</file>

<file path=ppt/slides/slide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06404341"/>
      </p:ext>
    </p:extLst>
  </p:cSld>
  <p:clrMapOvr>
    <a:masterClrMapping/>
  </p:clrMapOvr>
</p:sld>
</file>

<file path=ppt/slides/slide4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027688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1856530"/>
      </p:ext>
    </p:extLst>
  </p:cSld>
  <p:clrMapOvr>
    <a:masterClrMapping/>
  </p:clrMapOvr>
</p:sld>
</file>

<file path=ppt/slides/slide4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71779377"/>
      </p:ext>
    </p:extLst>
  </p:cSld>
  <p:clrMapOvr>
    <a:masterClrMapping/>
  </p:clrMapOvr>
</p:sld>
</file>

<file path=ppt/slides/slide4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54371867"/>
      </p:ext>
    </p:extLst>
  </p:cSld>
  <p:clrMapOvr>
    <a:masterClrMapping/>
  </p:clrMapOvr>
</p:sld>
</file>

<file path=ppt/slides/slide4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01181872"/>
      </p:ext>
    </p:extLst>
  </p:cSld>
  <p:clrMapOvr>
    <a:masterClrMapping/>
  </p:clrMapOvr>
</p:sld>
</file>

<file path=ppt/slides/slide4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69004750"/>
      </p:ext>
    </p:extLst>
  </p:cSld>
  <p:clrMapOvr>
    <a:masterClrMapping/>
  </p:clrMapOvr>
</p:sld>
</file>

<file path=ppt/slides/slide4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70270862"/>
      </p:ext>
    </p:extLst>
  </p:cSld>
  <p:clrMapOvr>
    <a:masterClrMapping/>
  </p:clrMapOvr>
</p:sld>
</file>

<file path=ppt/slides/slide4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90533772"/>
      </p:ext>
    </p:extLst>
  </p:cSld>
  <p:clrMapOvr>
    <a:masterClrMapping/>
  </p:clrMapOvr>
</p:sld>
</file>

<file path=ppt/slides/slide4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73902566"/>
      </p:ext>
    </p:extLst>
  </p:cSld>
  <p:clrMapOvr>
    <a:masterClrMapping/>
  </p:clrMapOvr>
</p:sld>
</file>

<file path=ppt/slides/slide4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02377659"/>
      </p:ext>
    </p:extLst>
  </p:cSld>
  <p:clrMapOvr>
    <a:masterClrMapping/>
  </p:clrMapOvr>
</p:sld>
</file>

<file path=ppt/slides/slide4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66992456"/>
      </p:ext>
    </p:extLst>
  </p:cSld>
  <p:clrMapOvr>
    <a:masterClrMapping/>
  </p:clrMapOvr>
</p:sld>
</file>

<file path=ppt/slides/slide4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7807364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32336608"/>
      </p:ext>
    </p:extLst>
  </p:cSld>
  <p:clrMapOvr>
    <a:masterClrMapping/>
  </p:clrMapOvr>
</p:sld>
</file>

<file path=ppt/slides/slide4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23344540"/>
      </p:ext>
    </p:extLst>
  </p:cSld>
  <p:clrMapOvr>
    <a:masterClrMapping/>
  </p:clrMapOvr>
</p:sld>
</file>

<file path=ppt/slides/slide4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0807825"/>
      </p:ext>
    </p:extLst>
  </p:cSld>
  <p:clrMapOvr>
    <a:masterClrMapping/>
  </p:clrMapOvr>
</p:sld>
</file>

<file path=ppt/slides/slide4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49539373"/>
      </p:ext>
    </p:extLst>
  </p:cSld>
  <p:clrMapOvr>
    <a:masterClrMapping/>
  </p:clrMapOvr>
</p:sld>
</file>

<file path=ppt/slides/slide4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88053304"/>
      </p:ext>
    </p:extLst>
  </p:cSld>
  <p:clrMapOvr>
    <a:masterClrMapping/>
  </p:clrMapOvr>
</p:sld>
</file>

<file path=ppt/slides/slide4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97464302"/>
      </p:ext>
    </p:extLst>
  </p:cSld>
  <p:clrMapOvr>
    <a:masterClrMapping/>
  </p:clrMapOvr>
</p:sld>
</file>

<file path=ppt/slides/slide4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05105664"/>
      </p:ext>
    </p:extLst>
  </p:cSld>
  <p:clrMapOvr>
    <a:masterClrMapping/>
  </p:clrMapOvr>
</p:sld>
</file>

<file path=ppt/slides/slide4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10188799"/>
      </p:ext>
    </p:extLst>
  </p:cSld>
  <p:clrMapOvr>
    <a:masterClrMapping/>
  </p:clrMapOvr>
</p:sld>
</file>

<file path=ppt/slides/slide4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88073547"/>
      </p:ext>
    </p:extLst>
  </p:cSld>
  <p:clrMapOvr>
    <a:masterClrMapping/>
  </p:clrMapOvr>
</p:sld>
</file>

<file path=ppt/slides/slide4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73358700"/>
      </p:ext>
    </p:extLst>
  </p:cSld>
  <p:clrMapOvr>
    <a:masterClrMapping/>
  </p:clrMapOvr>
</p:sld>
</file>

<file path=ppt/slides/slide4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0272383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3101767"/>
      </p:ext>
    </p:extLst>
  </p:cSld>
  <p:clrMapOvr>
    <a:masterClrMapping/>
  </p:clrMapOvr>
</p:sld>
</file>

<file path=ppt/slides/slide4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66613958"/>
      </p:ext>
    </p:extLst>
  </p:cSld>
  <p:clrMapOvr>
    <a:masterClrMapping/>
  </p:clrMapOvr>
</p:sld>
</file>

<file path=ppt/slides/slide4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4942815"/>
      </p:ext>
    </p:extLst>
  </p:cSld>
  <p:clrMapOvr>
    <a:masterClrMapping/>
  </p:clrMapOvr>
</p:sld>
</file>

<file path=ppt/slides/slide4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37779305"/>
      </p:ext>
    </p:extLst>
  </p:cSld>
  <p:clrMapOvr>
    <a:masterClrMapping/>
  </p:clrMapOvr>
</p:sld>
</file>

<file path=ppt/slides/slide4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14550253"/>
      </p:ext>
    </p:extLst>
  </p:cSld>
  <p:clrMapOvr>
    <a:masterClrMapping/>
  </p:clrMapOvr>
</p:sld>
</file>

<file path=ppt/slides/slide4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21289214"/>
      </p:ext>
    </p:extLst>
  </p:cSld>
  <p:clrMapOvr>
    <a:masterClrMapping/>
  </p:clrMapOvr>
</p:sld>
</file>

<file path=ppt/slides/slide4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99045342"/>
      </p:ext>
    </p:extLst>
  </p:cSld>
  <p:clrMapOvr>
    <a:masterClrMapping/>
  </p:clrMapOvr>
</p:sld>
</file>

<file path=ppt/slides/slide4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27446464"/>
      </p:ext>
    </p:extLst>
  </p:cSld>
  <p:clrMapOvr>
    <a:masterClrMapping/>
  </p:clrMapOvr>
</p:sld>
</file>

<file path=ppt/slides/slide4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87494518"/>
      </p:ext>
    </p:extLst>
  </p:cSld>
  <p:clrMapOvr>
    <a:masterClrMapping/>
  </p:clrMapOvr>
</p:sld>
</file>

<file path=ppt/slides/slide4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7516429"/>
      </p:ext>
    </p:extLst>
  </p:cSld>
  <p:clrMapOvr>
    <a:masterClrMapping/>
  </p:clrMapOvr>
</p:sld>
</file>

<file path=ppt/slides/slide4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8263420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20286929"/>
      </p:ext>
    </p:extLst>
  </p:cSld>
  <p:clrMapOvr>
    <a:masterClrMapping/>
  </p:clrMapOvr>
</p:sld>
</file>

<file path=ppt/slides/slide4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1942101"/>
      </p:ext>
    </p:extLst>
  </p:cSld>
  <p:clrMapOvr>
    <a:masterClrMapping/>
  </p:clrMapOvr>
</p:sld>
</file>

<file path=ppt/slides/slide4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29643767"/>
      </p:ext>
    </p:extLst>
  </p:cSld>
  <p:clrMapOvr>
    <a:masterClrMapping/>
  </p:clrMapOvr>
</p:sld>
</file>

<file path=ppt/slides/slide4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93668104"/>
      </p:ext>
    </p:extLst>
  </p:cSld>
  <p:clrMapOvr>
    <a:masterClrMapping/>
  </p:clrMapOvr>
</p:sld>
</file>

<file path=ppt/slides/slide4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04475888"/>
      </p:ext>
    </p:extLst>
  </p:cSld>
  <p:clrMapOvr>
    <a:masterClrMapping/>
  </p:clrMapOvr>
</p:sld>
</file>

<file path=ppt/slides/slide4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34519506"/>
      </p:ext>
    </p:extLst>
  </p:cSld>
  <p:clrMapOvr>
    <a:masterClrMapping/>
  </p:clrMapOvr>
</p:sld>
</file>

<file path=ppt/slides/slide4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43356981"/>
      </p:ext>
    </p:extLst>
  </p:cSld>
  <p:clrMapOvr>
    <a:masterClrMapping/>
  </p:clrMapOvr>
</p:sld>
</file>

<file path=ppt/slides/slide4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1019392"/>
      </p:ext>
    </p:extLst>
  </p:cSld>
  <p:clrMapOvr>
    <a:masterClrMapping/>
  </p:clrMapOvr>
</p:sld>
</file>

<file path=ppt/slides/slide4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21198888"/>
      </p:ext>
    </p:extLst>
  </p:cSld>
  <p:clrMapOvr>
    <a:masterClrMapping/>
  </p:clrMapOvr>
</p:sld>
</file>

<file path=ppt/slides/slide4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8370980"/>
      </p:ext>
    </p:extLst>
  </p:cSld>
  <p:clrMapOvr>
    <a:masterClrMapping/>
  </p:clrMapOvr>
</p:sld>
</file>

<file path=ppt/slides/slide4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7342186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84354104"/>
      </p:ext>
    </p:extLst>
  </p:cSld>
  <p:clrMapOvr>
    <a:masterClrMapping/>
  </p:clrMapOvr>
</p:sld>
</file>

<file path=ppt/slides/slide4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48077444"/>
      </p:ext>
    </p:extLst>
  </p:cSld>
  <p:clrMapOvr>
    <a:masterClrMapping/>
  </p:clrMapOvr>
</p:sld>
</file>

<file path=ppt/slides/slide4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80523401"/>
      </p:ext>
    </p:extLst>
  </p:cSld>
  <p:clrMapOvr>
    <a:masterClrMapping/>
  </p:clrMapOvr>
</p:sld>
</file>

<file path=ppt/slides/slide4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66873337"/>
      </p:ext>
    </p:extLst>
  </p:cSld>
  <p:clrMapOvr>
    <a:masterClrMapping/>
  </p:clrMapOvr>
</p:sld>
</file>

<file path=ppt/slides/slide4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33487496"/>
      </p:ext>
    </p:extLst>
  </p:cSld>
  <p:clrMapOvr>
    <a:masterClrMapping/>
  </p:clrMapOvr>
</p:sld>
</file>

<file path=ppt/slides/slide4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68349904"/>
      </p:ext>
    </p:extLst>
  </p:cSld>
  <p:clrMapOvr>
    <a:masterClrMapping/>
  </p:clrMapOvr>
</p:sld>
</file>

<file path=ppt/slides/slide4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93688718"/>
      </p:ext>
    </p:extLst>
  </p:cSld>
  <p:clrMapOvr>
    <a:masterClrMapping/>
  </p:clrMapOvr>
</p:sld>
</file>

<file path=ppt/slides/slide4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89706564"/>
      </p:ext>
    </p:extLst>
  </p:cSld>
  <p:clrMapOvr>
    <a:masterClrMapping/>
  </p:clrMapOvr>
</p:sld>
</file>

<file path=ppt/slides/slide4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34088487"/>
      </p:ext>
    </p:extLst>
  </p:cSld>
  <p:clrMapOvr>
    <a:masterClrMapping/>
  </p:clrMapOvr>
</p:sld>
</file>

<file path=ppt/slides/slide4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72114210"/>
      </p:ext>
    </p:extLst>
  </p:cSld>
  <p:clrMapOvr>
    <a:masterClrMapping/>
  </p:clrMapOvr>
</p:sld>
</file>

<file path=ppt/slides/slide4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244452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1269026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83167995"/>
      </p:ext>
    </p:extLst>
  </p:cSld>
  <p:clrMapOvr>
    <a:masterClrMapping/>
  </p:clrMapOvr>
</p:sld>
</file>

<file path=ppt/slides/slide5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1862056"/>
      </p:ext>
    </p:extLst>
  </p:cSld>
  <p:clrMapOvr>
    <a:masterClrMapping/>
  </p:clrMapOvr>
</p:sld>
</file>

<file path=ppt/slides/slide5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02028901"/>
      </p:ext>
    </p:extLst>
  </p:cSld>
  <p:clrMapOvr>
    <a:masterClrMapping/>
  </p:clrMapOvr>
</p:sld>
</file>

<file path=ppt/slides/slide5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2031046"/>
      </p:ext>
    </p:extLst>
  </p:cSld>
  <p:clrMapOvr>
    <a:masterClrMapping/>
  </p:clrMapOvr>
</p:sld>
</file>

<file path=ppt/slides/slide5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04779775"/>
      </p:ext>
    </p:extLst>
  </p:cSld>
  <p:clrMapOvr>
    <a:masterClrMapping/>
  </p:clrMapOvr>
</p:sld>
</file>

<file path=ppt/slides/slide5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39104598"/>
      </p:ext>
    </p:extLst>
  </p:cSld>
  <p:clrMapOvr>
    <a:masterClrMapping/>
  </p:clrMapOvr>
</p:sld>
</file>

<file path=ppt/slides/slide5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6251359"/>
      </p:ext>
    </p:extLst>
  </p:cSld>
  <p:clrMapOvr>
    <a:masterClrMapping/>
  </p:clrMapOvr>
</p:sld>
</file>

<file path=ppt/slides/slide5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9175567"/>
      </p:ext>
    </p:extLst>
  </p:cSld>
  <p:clrMapOvr>
    <a:masterClrMapping/>
  </p:clrMapOvr>
</p:sld>
</file>

<file path=ppt/slides/slide5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75651339"/>
      </p:ext>
    </p:extLst>
  </p:cSld>
  <p:clrMapOvr>
    <a:masterClrMapping/>
  </p:clrMapOvr>
</p:sld>
</file>

<file path=ppt/slides/slide5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29892551"/>
      </p:ext>
    </p:extLst>
  </p:cSld>
  <p:clrMapOvr>
    <a:masterClrMapping/>
  </p:clrMapOvr>
</p:sld>
</file>

<file path=ppt/slides/slide5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123020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85004984"/>
      </p:ext>
    </p:extLst>
  </p:cSld>
  <p:clrMapOvr>
    <a:masterClrMapping/>
  </p:clrMapOvr>
</p:sld>
</file>

<file path=ppt/slides/slide5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68072410"/>
      </p:ext>
    </p:extLst>
  </p:cSld>
  <p:clrMapOvr>
    <a:masterClrMapping/>
  </p:clrMapOvr>
</p:sld>
</file>

<file path=ppt/slides/slide5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4008880"/>
      </p:ext>
    </p:extLst>
  </p:cSld>
  <p:clrMapOvr>
    <a:masterClrMapping/>
  </p:clrMapOvr>
</p:sld>
</file>

<file path=ppt/slides/slide5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89688686"/>
      </p:ext>
    </p:extLst>
  </p:cSld>
  <p:clrMapOvr>
    <a:masterClrMapping/>
  </p:clrMapOvr>
</p:sld>
</file>

<file path=ppt/slides/slide5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79817209"/>
      </p:ext>
    </p:extLst>
  </p:cSld>
  <p:clrMapOvr>
    <a:masterClrMapping/>
  </p:clrMapOvr>
</p:sld>
</file>

<file path=ppt/slides/slide5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55760578"/>
      </p:ext>
    </p:extLst>
  </p:cSld>
  <p:clrMapOvr>
    <a:masterClrMapping/>
  </p:clrMapOvr>
</p:sld>
</file>

<file path=ppt/slides/slide5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63127357"/>
      </p:ext>
    </p:extLst>
  </p:cSld>
  <p:clrMapOvr>
    <a:masterClrMapping/>
  </p:clrMapOvr>
</p:sld>
</file>

<file path=ppt/slides/slide5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5438525"/>
      </p:ext>
    </p:extLst>
  </p:cSld>
  <p:clrMapOvr>
    <a:masterClrMapping/>
  </p:clrMapOvr>
</p:sld>
</file>

<file path=ppt/slides/slide5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54424241"/>
      </p:ext>
    </p:extLst>
  </p:cSld>
  <p:clrMapOvr>
    <a:masterClrMapping/>
  </p:clrMapOvr>
</p:sld>
</file>

<file path=ppt/slides/slide5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82185863"/>
      </p:ext>
    </p:extLst>
  </p:cSld>
  <p:clrMapOvr>
    <a:masterClrMapping/>
  </p:clrMapOvr>
</p:sld>
</file>

<file path=ppt/slides/slide5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1376796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0044232"/>
      </p:ext>
    </p:extLst>
  </p:cSld>
  <p:clrMapOvr>
    <a:masterClrMapping/>
  </p:clrMapOvr>
</p:sld>
</file>

<file path=ppt/slides/slide5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49097824"/>
      </p:ext>
    </p:extLst>
  </p:cSld>
  <p:clrMapOvr>
    <a:masterClrMapping/>
  </p:clrMapOvr>
</p:sld>
</file>

<file path=ppt/slides/slide5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52922164"/>
      </p:ext>
    </p:extLst>
  </p:cSld>
  <p:clrMapOvr>
    <a:masterClrMapping/>
  </p:clrMapOvr>
</p:sld>
</file>

<file path=ppt/slides/slide5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56942025"/>
      </p:ext>
    </p:extLst>
  </p:cSld>
  <p:clrMapOvr>
    <a:masterClrMapping/>
  </p:clrMapOvr>
</p:sld>
</file>

<file path=ppt/slides/slide5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00157222"/>
      </p:ext>
    </p:extLst>
  </p:cSld>
  <p:clrMapOvr>
    <a:masterClrMapping/>
  </p:clrMapOvr>
</p:sld>
</file>

<file path=ppt/slides/slide5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86596091"/>
      </p:ext>
    </p:extLst>
  </p:cSld>
  <p:clrMapOvr>
    <a:masterClrMapping/>
  </p:clrMapOvr>
</p:sld>
</file>

<file path=ppt/slides/slide5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70656963"/>
      </p:ext>
    </p:extLst>
  </p:cSld>
  <p:clrMapOvr>
    <a:masterClrMapping/>
  </p:clrMapOvr>
</p:sld>
</file>

<file path=ppt/slides/slide5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92675059"/>
      </p:ext>
    </p:extLst>
  </p:cSld>
  <p:clrMapOvr>
    <a:masterClrMapping/>
  </p:clrMapOvr>
</p:sld>
</file>

<file path=ppt/slides/slide5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17318531"/>
      </p:ext>
    </p:extLst>
  </p:cSld>
  <p:clrMapOvr>
    <a:masterClrMapping/>
  </p:clrMapOvr>
</p:sld>
</file>

<file path=ppt/slides/slide5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37905321"/>
      </p:ext>
    </p:extLst>
  </p:cSld>
  <p:clrMapOvr>
    <a:masterClrMapping/>
  </p:clrMapOvr>
</p:sld>
</file>

<file path=ppt/slides/slide5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0482653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71764154"/>
      </p:ext>
    </p:extLst>
  </p:cSld>
  <p:clrMapOvr>
    <a:masterClrMapping/>
  </p:clrMapOvr>
</p:sld>
</file>

<file path=ppt/slides/slide5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68893122"/>
      </p:ext>
    </p:extLst>
  </p:cSld>
  <p:clrMapOvr>
    <a:masterClrMapping/>
  </p:clrMapOvr>
</p:sld>
</file>

<file path=ppt/slides/slide5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06692230"/>
      </p:ext>
    </p:extLst>
  </p:cSld>
  <p:clrMapOvr>
    <a:masterClrMapping/>
  </p:clrMapOvr>
</p:sld>
</file>

<file path=ppt/slides/slide5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89807322"/>
      </p:ext>
    </p:extLst>
  </p:cSld>
  <p:clrMapOvr>
    <a:masterClrMapping/>
  </p:clrMapOvr>
</p:sld>
</file>

<file path=ppt/slides/slide5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4672420"/>
      </p:ext>
    </p:extLst>
  </p:cSld>
  <p:clrMapOvr>
    <a:masterClrMapping/>
  </p:clrMapOvr>
</p:sld>
</file>

<file path=ppt/slides/slide5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87333225"/>
      </p:ext>
    </p:extLst>
  </p:cSld>
  <p:clrMapOvr>
    <a:masterClrMapping/>
  </p:clrMapOvr>
</p:sld>
</file>

<file path=ppt/slides/slide5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14995071"/>
      </p:ext>
    </p:extLst>
  </p:cSld>
  <p:clrMapOvr>
    <a:masterClrMapping/>
  </p:clrMapOvr>
</p:sld>
</file>

<file path=ppt/slides/slide5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02301569"/>
      </p:ext>
    </p:extLst>
  </p:cSld>
  <p:clrMapOvr>
    <a:masterClrMapping/>
  </p:clrMapOvr>
</p:sld>
</file>

<file path=ppt/slides/slide5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77686025"/>
      </p:ext>
    </p:extLst>
  </p:cSld>
  <p:clrMapOvr>
    <a:masterClrMapping/>
  </p:clrMapOvr>
</p:sld>
</file>

<file path=ppt/slides/slide5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060977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2863260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3826396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36550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4865366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6187368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108519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4369007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8042953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115461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0565501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8626080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3192234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4356308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26251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5120706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2078676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38572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7880386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5000352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5658654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9727435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3443256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1791525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2483828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1033955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6409326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6343204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936055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8803822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4406979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9832186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162251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831597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0683988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4534403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8680159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9527086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8200672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425442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99973806"/>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0427873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3088852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2975304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21479125"/>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4398526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9477739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01252928"/>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48692607"/>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15574235"/>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704499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78</TotalTime>
  <Words>44116</Words>
  <Application>Microsoft Office PowerPoint</Application>
  <PresentationFormat>On-screen Show (16:9)</PresentationFormat>
  <Paragraphs>7532</Paragraphs>
  <Slides>538</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538</vt:i4>
      </vt:variant>
    </vt:vector>
  </HeadingPairs>
  <TitlesOfParts>
    <vt:vector size="547" baseType="lpstr">
      <vt:lpstr>Aptos</vt:lpstr>
      <vt:lpstr>Arial</vt:lpstr>
      <vt:lpstr>Nexa</vt:lpstr>
      <vt:lpstr>Nexa Bold</vt:lpstr>
      <vt:lpstr>Nexa Book</vt:lpstr>
      <vt:lpstr>Nexa Book Italic</vt:lpstr>
      <vt:lpstr>Open Sans</vt:lpstr>
      <vt:lpstr>PricingOne Light Template Oct 2024</vt:lpstr>
      <vt:lpstr>think-cell Slide</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54</cp:revision>
  <dcterms:created xsi:type="dcterms:W3CDTF">2024-07-05T14:56:51Z</dcterms:created>
  <dcterms:modified xsi:type="dcterms:W3CDTF">2025-09-03T17:45: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